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</p:sldMasterIdLst>
  <p:notesMasterIdLst>
    <p:notesMasterId r:id="rId20"/>
  </p:notesMasterIdLst>
  <p:sldIdLst>
    <p:sldId id="392" r:id="rId6"/>
    <p:sldId id="398" r:id="rId7"/>
    <p:sldId id="410" r:id="rId8"/>
    <p:sldId id="409" r:id="rId9"/>
    <p:sldId id="411" r:id="rId10"/>
    <p:sldId id="414" r:id="rId11"/>
    <p:sldId id="412" r:id="rId12"/>
    <p:sldId id="413" r:id="rId13"/>
    <p:sldId id="415" r:id="rId14"/>
    <p:sldId id="416" r:id="rId15"/>
    <p:sldId id="417" r:id="rId16"/>
    <p:sldId id="402" r:id="rId17"/>
    <p:sldId id="401" r:id="rId18"/>
    <p:sldId id="40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ning,Briony" initials="B" lastIdx="4" clrIdx="1">
    <p:extLst>
      <p:ext uri="{19B8F6BF-5375-455C-9EA6-DF929625EA0E}">
        <p15:presenceInfo xmlns:p15="http://schemas.microsoft.com/office/powerpoint/2012/main" userId="S-1-5-21-2372487174-1095743327-942915644-219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79832" autoAdjust="0"/>
  </p:normalViewPr>
  <p:slideViewPr>
    <p:cSldViewPr snapToGrid="0">
      <p:cViewPr varScale="1">
        <p:scale>
          <a:sx n="48" d="100"/>
          <a:sy n="48" d="100"/>
        </p:scale>
        <p:origin x="1292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umani Nyezi" userId="ca7458de-b13a-4b6d-be36-601c92e8d435" providerId="ADAL" clId="{BC407FFE-D940-4742-B00A-90A81E309B3B}"/>
    <pc:docChg chg="modSld">
      <pc:chgData name="Chumani Nyezi" userId="ca7458de-b13a-4b6d-be36-601c92e8d435" providerId="ADAL" clId="{BC407FFE-D940-4742-B00A-90A81E309B3B}" dt="2025-05-01T10:43:17.463" v="7" actId="20577"/>
      <pc:docMkLst>
        <pc:docMk/>
      </pc:docMkLst>
      <pc:sldChg chg="modNotesTx">
        <pc:chgData name="Chumani Nyezi" userId="ca7458de-b13a-4b6d-be36-601c92e8d435" providerId="ADAL" clId="{BC407FFE-D940-4742-B00A-90A81E309B3B}" dt="2025-05-01T10:42:52.165" v="1" actId="20577"/>
        <pc:sldMkLst>
          <pc:docMk/>
          <pc:sldMk cId="2839239175" sldId="409"/>
        </pc:sldMkLst>
      </pc:sldChg>
      <pc:sldChg chg="modNotesTx">
        <pc:chgData name="Chumani Nyezi" userId="ca7458de-b13a-4b6d-be36-601c92e8d435" providerId="ADAL" clId="{BC407FFE-D940-4742-B00A-90A81E309B3B}" dt="2025-05-01T10:42:44.615" v="0" actId="20577"/>
        <pc:sldMkLst>
          <pc:docMk/>
          <pc:sldMk cId="3163581201" sldId="410"/>
        </pc:sldMkLst>
      </pc:sldChg>
      <pc:sldChg chg="modNotesTx">
        <pc:chgData name="Chumani Nyezi" userId="ca7458de-b13a-4b6d-be36-601c92e8d435" providerId="ADAL" clId="{BC407FFE-D940-4742-B00A-90A81E309B3B}" dt="2025-05-01T10:42:57.104" v="3" actId="20577"/>
        <pc:sldMkLst>
          <pc:docMk/>
          <pc:sldMk cId="443005075" sldId="411"/>
        </pc:sldMkLst>
      </pc:sldChg>
      <pc:sldChg chg="modNotesTx">
        <pc:chgData name="Chumani Nyezi" userId="ca7458de-b13a-4b6d-be36-601c92e8d435" providerId="ADAL" clId="{BC407FFE-D940-4742-B00A-90A81E309B3B}" dt="2025-05-01T10:43:04.945" v="4" actId="20577"/>
        <pc:sldMkLst>
          <pc:docMk/>
          <pc:sldMk cId="3195839618" sldId="412"/>
        </pc:sldMkLst>
      </pc:sldChg>
      <pc:sldChg chg="modNotesTx">
        <pc:chgData name="Chumani Nyezi" userId="ca7458de-b13a-4b6d-be36-601c92e8d435" providerId="ADAL" clId="{BC407FFE-D940-4742-B00A-90A81E309B3B}" dt="2025-05-01T10:43:09.393" v="5" actId="20577"/>
        <pc:sldMkLst>
          <pc:docMk/>
          <pc:sldMk cId="4063746264" sldId="413"/>
        </pc:sldMkLst>
      </pc:sldChg>
      <pc:sldChg chg="modNotesTx">
        <pc:chgData name="Chumani Nyezi" userId="ca7458de-b13a-4b6d-be36-601c92e8d435" providerId="ADAL" clId="{BC407FFE-D940-4742-B00A-90A81E309B3B}" dt="2025-05-01T10:43:13.874" v="6" actId="20577"/>
        <pc:sldMkLst>
          <pc:docMk/>
          <pc:sldMk cId="393495691" sldId="415"/>
        </pc:sldMkLst>
      </pc:sldChg>
      <pc:sldChg chg="modNotesTx">
        <pc:chgData name="Chumani Nyezi" userId="ca7458de-b13a-4b6d-be36-601c92e8d435" providerId="ADAL" clId="{BC407FFE-D940-4742-B00A-90A81E309B3B}" dt="2025-05-01T10:43:17.463" v="7" actId="20577"/>
        <pc:sldMkLst>
          <pc:docMk/>
          <pc:sldMk cId="563505824" sldId="41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B51F13-0D04-49B6-91F6-44DBCF9CD03B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1F67CB-3E8B-4897-BA1E-E5C726472B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391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2479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6957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0099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698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828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5848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7297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0807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0623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9090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1F67CB-3E8B-4897-BA1E-E5C726472B4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345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2.wdp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jpeg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986518-072D-4F2B-85DF-1B00057B54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3F958-5AFB-4A40-99E3-820CADD902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387" t="18703" r="43487" b="4630"/>
          <a:stretch/>
        </p:blipFill>
        <p:spPr bwMode="ltGray">
          <a:xfrm>
            <a:off x="1" y="1"/>
            <a:ext cx="7023100" cy="6865505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298475" y="1765832"/>
            <a:ext cx="5278717" cy="1313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267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159172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479775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98477" y="5812948"/>
            <a:ext cx="408980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21917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3F4483-104E-42EA-B27D-C56A6FF1B3DC}"/>
              </a:ext>
            </a:extLst>
          </p:cNvPr>
          <p:cNvCxnSpPr>
            <a:cxnSpLocks/>
          </p:cNvCxnSpPr>
          <p:nvPr/>
        </p:nvCxnSpPr>
        <p:spPr bwMode="ltGray">
          <a:xfrm flipV="1">
            <a:off x="5285617" y="267714"/>
            <a:ext cx="1385111" cy="6330075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2859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963CAD2-1C78-7176-3662-5D9160AE9B9E}"/>
              </a:ext>
            </a:extLst>
          </p:cNvPr>
          <p:cNvSpPr/>
          <p:nvPr/>
        </p:nvSpPr>
        <p:spPr>
          <a:xfrm>
            <a:off x="7851913" y="0"/>
            <a:ext cx="4340087" cy="6858000"/>
          </a:xfrm>
          <a:prstGeom prst="rect">
            <a:avLst/>
          </a:prstGeom>
          <a:solidFill>
            <a:srgbClr val="1531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red sign with white text&#10;&#10;Description automatically generated">
            <a:extLst>
              <a:ext uri="{FF2B5EF4-FFF2-40B4-BE49-F238E27FC236}">
                <a16:creationId xmlns:a16="http://schemas.microsoft.com/office/drawing/2014/main" id="{884E1BBE-EE79-FD9D-353A-89BEE9C2BE4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85378"/>
            <a:ext cx="2083904" cy="772622"/>
          </a:xfrm>
          <a:prstGeom prst="rect">
            <a:avLst/>
          </a:prstGeom>
        </p:spPr>
      </p:pic>
      <p:pic>
        <p:nvPicPr>
          <p:cNvPr id="8" name="Picture 7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D4EDAFAA-2488-BE1E-20FF-B0255A6BEC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89" y="5814391"/>
            <a:ext cx="1699710" cy="7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0317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963CAD2-1C78-7176-3662-5D9160AE9B9E}"/>
              </a:ext>
            </a:extLst>
          </p:cNvPr>
          <p:cNvSpPr/>
          <p:nvPr/>
        </p:nvSpPr>
        <p:spPr>
          <a:xfrm>
            <a:off x="7851913" y="0"/>
            <a:ext cx="4340087" cy="6858000"/>
          </a:xfrm>
          <a:prstGeom prst="rect">
            <a:avLst/>
          </a:prstGeom>
          <a:solidFill>
            <a:srgbClr val="F5D93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black and red background with blue text&#10;&#10;Description automatically generated">
            <a:extLst>
              <a:ext uri="{FF2B5EF4-FFF2-40B4-BE49-F238E27FC236}">
                <a16:creationId xmlns:a16="http://schemas.microsoft.com/office/drawing/2014/main" id="{91B3649C-F4B7-C618-7823-E36524F231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96413"/>
            <a:ext cx="2083904" cy="761587"/>
          </a:xfrm>
          <a:prstGeom prst="rect">
            <a:avLst/>
          </a:prstGeom>
        </p:spPr>
      </p:pic>
      <p:pic>
        <p:nvPicPr>
          <p:cNvPr id="8" name="Picture 7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D4EDAFAA-2488-BE1E-20FF-B0255A6BEC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89" y="5814391"/>
            <a:ext cx="1699710" cy="7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8099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986518-072D-4F2B-85DF-1B00057B54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3F958-5AFB-4A40-99E3-820CADD902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387" t="18703" r="43487" b="4630"/>
          <a:stretch/>
        </p:blipFill>
        <p:spPr bwMode="ltGray">
          <a:xfrm>
            <a:off x="1" y="1"/>
            <a:ext cx="7023100" cy="6865505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298475" y="1765832"/>
            <a:ext cx="5278717" cy="1313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267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159172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479775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98477" y="5812948"/>
            <a:ext cx="408980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21917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3F4483-104E-42EA-B27D-C56A6FF1B3DC}"/>
              </a:ext>
            </a:extLst>
          </p:cNvPr>
          <p:cNvCxnSpPr>
            <a:cxnSpLocks/>
          </p:cNvCxnSpPr>
          <p:nvPr/>
        </p:nvCxnSpPr>
        <p:spPr bwMode="ltGray">
          <a:xfrm flipV="1">
            <a:off x="5285617" y="267714"/>
            <a:ext cx="1385111" cy="6330075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00587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0" y="0"/>
            <a:ext cx="12032857" cy="679731"/>
          </a:xfrm>
          <a:prstGeom prst="roundRect">
            <a:avLst/>
          </a:prstGeom>
          <a:solidFill>
            <a:srgbClr val="0A32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127181" y="129447"/>
            <a:ext cx="11393598" cy="420835"/>
          </a:xfrm>
        </p:spPr>
        <p:txBody>
          <a:bodyPr>
            <a:normAutofit/>
          </a:bodyPr>
          <a:lstStyle>
            <a:lvl1pPr>
              <a:defRPr sz="2200" b="0" i="0" baseline="0">
                <a:solidFill>
                  <a:schemeClr val="bg1"/>
                </a:solidFill>
                <a:latin typeface="Gotham Narrow Medium" charset="0"/>
                <a:ea typeface="Gotham Narrow Medium" charset="0"/>
                <a:cs typeface="Gotham Narrow Medium" charset="0"/>
              </a:defRPr>
            </a:lvl1pPr>
          </a:lstStyle>
          <a:p>
            <a:r>
              <a:rPr lang="en-US" dirty="0"/>
              <a:t>GENERIC SLID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2787" y="5983551"/>
            <a:ext cx="2439214" cy="8744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277" y="6048649"/>
            <a:ext cx="1604676" cy="62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918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52" name="Picture 380" descr="Image result for digital health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309" y="4580"/>
            <a:ext cx="10278868" cy="685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986518-072D-4F2B-85DF-1B00057B54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3F958-5AFB-4A40-99E3-820CADD9025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387" t="18703" r="43487" b="4630"/>
          <a:stretch/>
        </p:blipFill>
        <p:spPr bwMode="ltGray">
          <a:xfrm>
            <a:off x="1" y="1"/>
            <a:ext cx="7023100" cy="6865505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298475" y="1765832"/>
            <a:ext cx="5278717" cy="1313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267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159172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479775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298475" y="3974088"/>
            <a:ext cx="5278717" cy="287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67" cap="all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None/>
            </a:pPr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98477" y="5812948"/>
            <a:ext cx="408980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21917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27D1EC-9B46-4E08-8C90-064BB2BF5274}"/>
              </a:ext>
            </a:extLst>
          </p:cNvPr>
          <p:cNvSpPr/>
          <p:nvPr/>
        </p:nvSpPr>
        <p:spPr bwMode="ltGray">
          <a:xfrm>
            <a:off x="4322" y="355999"/>
            <a:ext cx="2658989" cy="9500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C9C14CE-0839-4B18-8A55-32555DBE8CB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43785" y="388496"/>
            <a:ext cx="2119525" cy="885077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3F4483-104E-42EA-B27D-C56A6FF1B3DC}"/>
              </a:ext>
            </a:extLst>
          </p:cNvPr>
          <p:cNvCxnSpPr>
            <a:cxnSpLocks/>
          </p:cNvCxnSpPr>
          <p:nvPr/>
        </p:nvCxnSpPr>
        <p:spPr bwMode="ltGray">
          <a:xfrm flipV="1">
            <a:off x="5285617" y="267714"/>
            <a:ext cx="1385111" cy="6330075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4735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8C0AFA-F9BC-4D1D-8764-094D61130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2" y="212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8C0AFA-F9BC-4D1D-8764-094D611305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2123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D86C90-4689-46F2-BC65-69D3F62C1A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8"/>
            <a:ext cx="123156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591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268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0A1FF9-3132-4F62-A932-5B7DCFFEC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8" imgH="278" progId="TCLayout.ActiveDocument.1">
                  <p:embed/>
                </p:oleObj>
              </mc:Choice>
              <mc:Fallback>
                <p:oleObj name="think-cell Slide" r:id="rId3" imgW="278" imgH="2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0A1FF9-3132-4F62-A932-5B7DCFFEC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B5FEAE-53A3-4158-8CA1-8BBF35CD8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1383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LHC - IT Assessement Initial Findings v9 .pptx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8240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>
          <a:xfrm>
            <a:off x="0" y="0"/>
            <a:ext cx="12032857" cy="679731"/>
          </a:xfrm>
          <a:prstGeom prst="roundRect">
            <a:avLst/>
          </a:prstGeom>
          <a:solidFill>
            <a:srgbClr val="0A32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127181" y="129447"/>
            <a:ext cx="11393598" cy="420835"/>
          </a:xfrm>
        </p:spPr>
        <p:txBody>
          <a:bodyPr>
            <a:normAutofit/>
          </a:bodyPr>
          <a:lstStyle>
            <a:lvl1pPr>
              <a:defRPr sz="2200" b="0" i="0" baseline="0">
                <a:solidFill>
                  <a:schemeClr val="bg1"/>
                </a:solidFill>
                <a:latin typeface="Gotham Narrow Medium" charset="0"/>
                <a:ea typeface="Gotham Narrow Medium" charset="0"/>
                <a:cs typeface="Gotham Narrow Medium" charset="0"/>
              </a:defRPr>
            </a:lvl1pPr>
          </a:lstStyle>
          <a:p>
            <a:r>
              <a:rPr lang="en-US" dirty="0"/>
              <a:t>GENERIC SLID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2787" y="5983551"/>
            <a:ext cx="2439214" cy="8744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277" y="6048649"/>
            <a:ext cx="1604676" cy="62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182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F4B1580F-DD12-C02C-3553-18A183C748CF}"/>
              </a:ext>
            </a:extLst>
          </p:cNvPr>
          <p:cNvSpPr/>
          <p:nvPr/>
        </p:nvSpPr>
        <p:spPr>
          <a:xfrm rot="10800000">
            <a:off x="7828206" y="0"/>
            <a:ext cx="4363794" cy="3518451"/>
          </a:xfrm>
          <a:prstGeom prst="rtTriangle">
            <a:avLst/>
          </a:prstGeom>
          <a:solidFill>
            <a:srgbClr val="F5D93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 descr="A black and red background with blue text&#10;&#10;Description automatically generated">
            <a:extLst>
              <a:ext uri="{FF2B5EF4-FFF2-40B4-BE49-F238E27FC236}">
                <a16:creationId xmlns:a16="http://schemas.microsoft.com/office/drawing/2014/main" id="{0B155D12-5B63-3E19-B570-CC688DC397C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96413"/>
            <a:ext cx="2083904" cy="761587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D0B5DD14-6517-33B3-AD65-8BB8FCEB54F0}"/>
              </a:ext>
            </a:extLst>
          </p:cNvPr>
          <p:cNvSpPr/>
          <p:nvPr/>
        </p:nvSpPr>
        <p:spPr>
          <a:xfrm rot="10800000">
            <a:off x="8395252" y="0"/>
            <a:ext cx="3796748" cy="3061252"/>
          </a:xfrm>
          <a:prstGeom prst="rtTriangle">
            <a:avLst/>
          </a:prstGeom>
          <a:solidFill>
            <a:srgbClr val="F5D93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50792D2-C670-0D07-0DA3-80B82CF398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148" y="184702"/>
            <a:ext cx="2425367" cy="2409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4322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red background with blue text&#10;&#10;Description automatically generated">
            <a:extLst>
              <a:ext uri="{FF2B5EF4-FFF2-40B4-BE49-F238E27FC236}">
                <a16:creationId xmlns:a16="http://schemas.microsoft.com/office/drawing/2014/main" id="{91B3649C-F4B7-C618-7823-E36524F231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96413"/>
            <a:ext cx="2083904" cy="761587"/>
          </a:xfrm>
          <a:prstGeom prst="rect">
            <a:avLst/>
          </a:prstGeom>
        </p:spPr>
      </p:pic>
      <p:pic>
        <p:nvPicPr>
          <p:cNvPr id="8" name="Picture 7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D4EDAFAA-2488-BE1E-20FF-B0255A6BEC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89" y="5814391"/>
            <a:ext cx="1699710" cy="7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8261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963CAD2-1C78-7176-3662-5D9160AE9B9E}"/>
              </a:ext>
            </a:extLst>
          </p:cNvPr>
          <p:cNvSpPr/>
          <p:nvPr/>
        </p:nvSpPr>
        <p:spPr>
          <a:xfrm>
            <a:off x="7851913" y="0"/>
            <a:ext cx="4340087" cy="6858000"/>
          </a:xfrm>
          <a:prstGeom prst="rect">
            <a:avLst/>
          </a:prstGeom>
          <a:solidFill>
            <a:srgbClr val="7BA2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black and red background with blue text&#10;&#10;Description automatically generated">
            <a:extLst>
              <a:ext uri="{FF2B5EF4-FFF2-40B4-BE49-F238E27FC236}">
                <a16:creationId xmlns:a16="http://schemas.microsoft.com/office/drawing/2014/main" id="{91B3649C-F4B7-C618-7823-E36524F231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96413"/>
            <a:ext cx="2083904" cy="761587"/>
          </a:xfrm>
          <a:prstGeom prst="rect">
            <a:avLst/>
          </a:prstGeom>
        </p:spPr>
      </p:pic>
      <p:pic>
        <p:nvPicPr>
          <p:cNvPr id="8" name="Picture 7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D4EDAFAA-2488-BE1E-20FF-B0255A6BEC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89" y="5814391"/>
            <a:ext cx="1699710" cy="7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7399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microsoft.com/office/2007/relationships/hdphoto" Target="../media/hdphoto1.wdp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2.png"/><Relationship Id="rId30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6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6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6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4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51C331AB-E68B-49EF-927F-6AA0F00E22F0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email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1" y="1"/>
            <a:ext cx="12192000" cy="1115439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ltGray">
          <a:xfrm>
            <a:off x="345873" y="626024"/>
            <a:ext cx="11541596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5873" y="51368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5873" y="1151897"/>
            <a:ext cx="11541596" cy="328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362378"/>
            <a:ext cx="10261540" cy="164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4296" marR="0" lvl="0" indent="-114296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01951"/>
            <a:ext cx="10261540" cy="164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658250" marR="0" lvl="0" indent="-658250" algn="l" defTabSz="1591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676878" y="1972391"/>
            <a:ext cx="4389573" cy="675433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256362" y="1208621"/>
            <a:ext cx="631113" cy="201081"/>
            <a:chOff x="8276889" y="285750"/>
            <a:chExt cx="463886" cy="19707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3" y="285750"/>
              <a:ext cx="457492" cy="1880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15917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6889" y="285750"/>
              <a:ext cx="0" cy="19707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6889" y="482829"/>
              <a:ext cx="4638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948634" y="1202143"/>
            <a:ext cx="942043" cy="1075530"/>
            <a:chOff x="7835905" y="279400"/>
            <a:chExt cx="923275" cy="105412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3" y="279400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3" y="549275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3" y="820740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6" y="1092201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634412" y="1202145"/>
            <a:ext cx="1256276" cy="803413"/>
            <a:chOff x="7540629" y="279400"/>
            <a:chExt cx="1231248" cy="78741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099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498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80611" y="1172986"/>
            <a:ext cx="1010072" cy="1378429"/>
            <a:chOff x="7769225" y="250825"/>
            <a:chExt cx="989949" cy="1350987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0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7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ltGray">
          <a:xfrm>
            <a:off x="3676878" y="2803894"/>
            <a:ext cx="4389573" cy="1641155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>
            <a:spAutoFit/>
          </a:bodyPr>
          <a:lstStyle/>
          <a:p>
            <a:pPr lvl="0" defTabSz="1193746"/>
            <a:r>
              <a:rPr lang="en-US" dirty="0"/>
              <a:t>Edit Master text styles</a:t>
            </a:r>
          </a:p>
          <a:p>
            <a:pPr marL="259188" lvl="1" indent="-254388" defTabSz="1193746"/>
            <a:r>
              <a:rPr lang="en-US" dirty="0"/>
              <a:t>Second level</a:t>
            </a:r>
          </a:p>
          <a:p>
            <a:pPr marL="595173" lvl="2" indent="-331185" defTabSz="1193746"/>
            <a:r>
              <a:rPr lang="en-US" dirty="0"/>
              <a:t>Third level</a:t>
            </a:r>
          </a:p>
          <a:p>
            <a:pPr marL="820763" lvl="3" indent="-206390" defTabSz="1193746"/>
            <a:r>
              <a:rPr lang="en-US" dirty="0"/>
              <a:t>Fourth level</a:t>
            </a:r>
          </a:p>
          <a:p>
            <a:pPr marL="998356" lvl="4" indent="-172793" defTabSz="1193746"/>
            <a:r>
              <a:rPr lang="en-US" dirty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5BD0B84-1948-41BC-BA35-D0ECCAD96D09}"/>
              </a:ext>
            </a:extLst>
          </p:cNvPr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560713" y="6369234"/>
            <a:ext cx="1011207" cy="422263"/>
          </a:xfrm>
          <a:prstGeom prst="rect">
            <a:avLst/>
          </a:prstGeom>
        </p:spPr>
      </p:pic>
      <p:sp>
        <p:nvSpPr>
          <p:cNvPr id="62" name="Slide Number">
            <a:extLst>
              <a:ext uri="{FF2B5EF4-FFF2-40B4-BE49-F238E27FC236}">
                <a16:creationId xmlns:a16="http://schemas.microsoft.com/office/drawing/2014/main" id="{1434D8F5-7029-4161-9BD3-3ADD4FE1DB84}"/>
              </a:ext>
            </a:extLst>
          </p:cNvPr>
          <p:cNvSpPr txBox="1">
            <a:spLocks/>
          </p:cNvSpPr>
          <p:nvPr/>
        </p:nvSpPr>
        <p:spPr bwMode="ltGray">
          <a:xfrm>
            <a:off x="11653657" y="6621170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C9B6230-0CEC-4F8D-BD56-23BDF3E424C9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69" b="10389"/>
          <a:stretch/>
        </p:blipFill>
        <p:spPr bwMode="ltGray">
          <a:xfrm>
            <a:off x="1" y="343313"/>
            <a:ext cx="275544" cy="772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094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7" r:id="rId5"/>
    <p:sldLayoutId id="2147483669" r:id="rId6"/>
  </p:sldLayoutIdLst>
  <p:txStyles>
    <p:titleStyle>
      <a:lvl1pPr algn="l" defTabSz="1591726" rtl="0" eaLnBrk="1" fontAlgn="base" hangingPunct="1">
        <a:spcBef>
          <a:spcPct val="0"/>
        </a:spcBef>
        <a:spcAft>
          <a:spcPct val="0"/>
        </a:spcAft>
        <a:tabLst>
          <a:tab pos="479775" algn="l"/>
        </a:tabLst>
        <a:defRPr sz="2667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2pPr>
      <a:lvl3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3pPr>
      <a:lvl4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4pPr>
      <a:lvl5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5pPr>
      <a:lvl6pPr marL="812796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6pPr>
      <a:lvl7pPr marL="1625591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7pPr>
      <a:lvl8pPr marL="2438388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8pPr>
      <a:lvl9pPr marL="3251184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9186" indent="-254386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95168" indent="-331181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20755" indent="-206387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98346" indent="-172790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2133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6pPr>
      <a:lvl7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7pPr>
      <a:lvl8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8pPr>
      <a:lvl9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96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9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388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184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98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775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57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368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9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783FC36-08F4-FABA-8AFD-CE18D25AC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A455B4-A79D-5B7B-300D-5EF3DAB6B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B5EC7F-F6D0-05D0-C749-0C3AB9F9D6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7D0FF47-FC4A-9C45-8EB7-F294A875D913}" type="datetimeFigureOut">
              <a:rPr lang="en-US" smtClean="0"/>
              <a:t>5/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424616-2FC2-8842-399D-FA9FC3F45E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872017-3E85-55F2-3267-70F9414A71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6D456A7-ACB9-D143-9F25-34E87CB51D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810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9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9.png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9.png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6" Type="http://schemas.openxmlformats.org/officeDocument/2006/relationships/image" Target="../media/image3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5" Type="http://schemas.openxmlformats.org/officeDocument/2006/relationships/image" Target="../media/image19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19.pn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3.png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6" Type="http://schemas.openxmlformats.org/officeDocument/2006/relationships/image" Target="../media/image22.png"/><Relationship Id="rId11" Type="http://schemas.openxmlformats.org/officeDocument/2006/relationships/image" Target="../media/image19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6" Type="http://schemas.openxmlformats.org/officeDocument/2006/relationships/image" Target="../media/image19.png"/><Relationship Id="rId5" Type="http://schemas.openxmlformats.org/officeDocument/2006/relationships/image" Target="../media/image27.emf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70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 idx="4294967295"/>
          </p:nvPr>
        </p:nvSpPr>
        <p:spPr>
          <a:xfrm>
            <a:off x="2711668" y="629737"/>
            <a:ext cx="5750282" cy="2506631"/>
          </a:xfrm>
        </p:spPr>
        <p:txBody>
          <a:bodyPr>
            <a:normAutofit/>
          </a:bodyPr>
          <a:lstStyle/>
          <a:p>
            <a:pPr algn="ctr"/>
            <a:r>
              <a:rPr lang="en-US" b="1" dirty="0"/>
              <a:t>APS 2025</a:t>
            </a:r>
            <a:br>
              <a:rPr lang="en-US" b="1" dirty="0"/>
            </a:br>
            <a:r>
              <a:rPr lang="en-US" b="1" dirty="0"/>
              <a:t>STRESS AND COPING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037496-2224-82C4-A371-9A000F539C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3682" y="3017929"/>
            <a:ext cx="4051651" cy="34249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772E51A-BE53-BB58-7175-682B5F3C84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8083" y="3017929"/>
            <a:ext cx="4755931" cy="3424912"/>
          </a:xfrm>
          <a:prstGeom prst="rect">
            <a:avLst/>
          </a:prstGeom>
        </p:spPr>
      </p:pic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C3A2E91A-9631-83C8-21DB-F36B02B1459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54709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802"/>
    </mc:Choice>
    <mc:Fallback>
      <p:transition spd="slow" advTm="408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3FABCE3-546C-0CF7-0CB7-921E2800C934}"/>
              </a:ext>
            </a:extLst>
          </p:cNvPr>
          <p:cNvSpPr txBox="1"/>
          <p:nvPr/>
        </p:nvSpPr>
        <p:spPr>
          <a:xfrm>
            <a:off x="728870" y="365948"/>
            <a:ext cx="1094629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dirty="0"/>
              <a:t>COPING WITH STRESS AND THE NURSING MANAGEMENT OF STRESS</a:t>
            </a:r>
            <a:endParaRPr lang="en-ZA" sz="36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26D51E4-1DD8-59EE-A5A9-16E8F713FF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622" y="2385392"/>
            <a:ext cx="4958874" cy="287572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DA39455-D74A-D1FE-F307-3BF7D0E5BE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2396160"/>
            <a:ext cx="4691270" cy="2638840"/>
          </a:xfrm>
          <a:prstGeom prst="rect">
            <a:avLst/>
          </a:prstGeom>
        </p:spPr>
      </p:pic>
      <p:pic>
        <p:nvPicPr>
          <p:cNvPr id="13" name="Audio 12">
            <a:hlinkClick r:id="" action="ppaction://media"/>
            <a:extLst>
              <a:ext uri="{FF2B5EF4-FFF2-40B4-BE49-F238E27FC236}">
                <a16:creationId xmlns:a16="http://schemas.microsoft.com/office/drawing/2014/main" id="{DEBEE910-F88D-CBAD-7E42-F2C2EF2FA26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5635058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10910"/>
    </mc:Choice>
    <mc:Fallback>
      <p:transition spd="slow" advTm="41091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09C5F80-A4A4-3938-6059-5E3B4E8EEFA2}"/>
              </a:ext>
            </a:extLst>
          </p:cNvPr>
          <p:cNvSpPr txBox="1"/>
          <p:nvPr/>
        </p:nvSpPr>
        <p:spPr>
          <a:xfrm>
            <a:off x="636104" y="193670"/>
            <a:ext cx="1090653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3600" b="1" dirty="0"/>
              <a:t>STRATEGIES THAT THE NURSE CAN IMPLEMENT TO REDUCE STRESS AND PREVENT BURNOUT</a:t>
            </a:r>
            <a:endParaRPr lang="en-ZA" sz="36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477F38-4F77-D834-867E-1660AB4D1C49}"/>
              </a:ext>
            </a:extLst>
          </p:cNvPr>
          <p:cNvSpPr txBox="1"/>
          <p:nvPr/>
        </p:nvSpPr>
        <p:spPr>
          <a:xfrm>
            <a:off x="728871" y="1393999"/>
            <a:ext cx="10813772" cy="46228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Plan a daily relaxation </a:t>
            </a:r>
            <a:r>
              <a:rPr lang="en-US" sz="2000" dirty="0" err="1"/>
              <a:t>programme</a:t>
            </a:r>
            <a:r>
              <a:rPr lang="en-US" sz="2000" dirty="0"/>
              <a:t> with meaningful quiet time to reduce tension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Establish a regular exercise program to direct energy outward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Study assertiveness techniques to overcome feelings of powerlessness in relationships with other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Learn to accept failures (your own and others) and make it a constructive learning experience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Accepts what you cannot change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Develop collegial support groups to deal with feelings and anxieties generated in the work setting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Participate in professional </a:t>
            </a:r>
            <a:r>
              <a:rPr lang="en-US" sz="2000" dirty="0" err="1"/>
              <a:t>organisations</a:t>
            </a:r>
            <a:r>
              <a:rPr lang="en-US" sz="2000" dirty="0"/>
              <a:t> to address workplace issues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Seek counselling if indicated to help clarify and cope with concerns.</a:t>
            </a:r>
          </a:p>
        </p:txBody>
      </p:sp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A37B345D-399A-2165-E97F-FA82273544C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99583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4908"/>
    </mc:Choice>
    <mc:Fallback>
      <p:transition spd="slow" advTm="14490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23061-6B02-5873-A9A9-6FDC9A4EA9A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30174"/>
            <a:ext cx="11393488" cy="630797"/>
          </a:xfrm>
        </p:spPr>
        <p:txBody>
          <a:bodyPr>
            <a:noAutofit/>
          </a:bodyPr>
          <a:lstStyle/>
          <a:p>
            <a:pPr algn="ctr"/>
            <a:r>
              <a:rPr lang="en-US" b="1" dirty="0"/>
              <a:t>SELF DIRECTED LEARNING CONTINUE </a:t>
            </a:r>
            <a:endParaRPr lang="en-ZA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3A69A85-B007-67EF-6F33-B894D3F5C4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6573" y="1723260"/>
            <a:ext cx="4352921" cy="283488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E2201F0-D149-AE6C-CEB3-C47CE30DAD12}"/>
              </a:ext>
            </a:extLst>
          </p:cNvPr>
          <p:cNvSpPr txBox="1"/>
          <p:nvPr/>
        </p:nvSpPr>
        <p:spPr>
          <a:xfrm>
            <a:off x="940903" y="1288524"/>
            <a:ext cx="6172019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omplete the follow tool to assess your own stress level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Once you have established your personal stress levels, implement positive coping mechanism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If you are really battling, please make use of Employee Health Solutions 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16940480-5EF3-A7A8-4A26-400359FF86C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21890749"/>
              </p:ext>
            </p:extLst>
          </p:nvPr>
        </p:nvGraphicFramePr>
        <p:xfrm>
          <a:off x="1987823" y="4062846"/>
          <a:ext cx="3007605" cy="990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5" imgW="1600200" imgH="527076" progId="Package">
                  <p:embed/>
                </p:oleObj>
              </mc:Choice>
              <mc:Fallback>
                <p:oleObj name="Packager Shell Object" showAsIcon="1" r:id="rId5" imgW="1600200" imgH="527076" progId="Package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16940480-5EF3-A7A8-4A26-400359FF8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87823" y="4062846"/>
                        <a:ext cx="3007605" cy="990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41BE4A72-3D48-312A-AF71-6EA0FD458E0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3955818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3257"/>
    </mc:Choice>
    <mc:Fallback>
      <p:transition spd="slow" advTm="3325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B974D6-4FFD-FF03-2473-1CD64F6479D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30175"/>
            <a:ext cx="11393488" cy="420688"/>
          </a:xfrm>
        </p:spPr>
        <p:txBody>
          <a:bodyPr>
            <a:noAutofit/>
          </a:bodyPr>
          <a:lstStyle/>
          <a:p>
            <a:pPr algn="ctr"/>
            <a:r>
              <a:rPr lang="en-US" b="1" dirty="0"/>
              <a:t>RESOURCES </a:t>
            </a:r>
            <a:endParaRPr lang="en-ZA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545E1E-792B-788F-47F4-E6C3F42D6BB5}"/>
              </a:ext>
            </a:extLst>
          </p:cNvPr>
          <p:cNvSpPr txBox="1"/>
          <p:nvPr/>
        </p:nvSpPr>
        <p:spPr>
          <a:xfrm>
            <a:off x="461817" y="1551709"/>
            <a:ext cx="11160339" cy="1701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400" dirty="0"/>
              <a:t>Berman, A. Snyder,S.J. &amp; Franden, G.(2021). Kozier &amp; Erb’s Fundamentals of Nursing. Concepts, Process and Practice.11th edition. Pearson. New Jersey Chapter 42. p 1067 -1079 </a:t>
            </a:r>
          </a:p>
        </p:txBody>
      </p:sp>
      <p:pic>
        <p:nvPicPr>
          <p:cNvPr id="6" name="Audio 5">
            <a:hlinkClick r:id="" action="ppaction://media"/>
            <a:extLst>
              <a:ext uri="{FF2B5EF4-FFF2-40B4-BE49-F238E27FC236}">
                <a16:creationId xmlns:a16="http://schemas.microsoft.com/office/drawing/2014/main" id="{475FCDA9-2ECB-191C-A54B-573ADB225B6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0597460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592"/>
    </mc:Choice>
    <mc:Fallback>
      <p:transition spd="slow" advTm="359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11EA417-5D8F-C99C-931E-86088D65FA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335" y="1272207"/>
            <a:ext cx="6318748" cy="3644350"/>
          </a:xfrm>
          <a:prstGeom prst="rect">
            <a:avLst/>
          </a:prstGeom>
        </p:spPr>
      </p:pic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6052BBE7-6B69-283D-6085-521E4534280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8596034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238"/>
    </mc:Choice>
    <mc:Fallback>
      <p:transition spd="slow" advTm="723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Box 47"/>
          <p:cNvSpPr txBox="1"/>
          <p:nvPr/>
        </p:nvSpPr>
        <p:spPr>
          <a:xfrm>
            <a:off x="1272045" y="3586544"/>
            <a:ext cx="21325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Gotham Narrow Medium" charset="0"/>
                <a:cs typeface="Gotham Narrow Medium" charset="0"/>
              </a:rPr>
              <a:t>Q Jan-March 2021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875862" y="3594181"/>
            <a:ext cx="18457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ZA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4 July-Sept 2021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A64050A5-F6EA-56CA-6C43-117F631B446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30174"/>
            <a:ext cx="11393488" cy="847287"/>
          </a:xfrm>
        </p:spPr>
        <p:txBody>
          <a:bodyPr>
            <a:normAutofit/>
          </a:bodyPr>
          <a:lstStyle/>
          <a:p>
            <a:pPr algn="ctr"/>
            <a:r>
              <a:rPr lang="en-ZA" b="1" dirty="0"/>
              <a:t>LEARNING OUTCOMES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A6AC58-8F45-75A6-DAF8-478B97F0F154}"/>
              </a:ext>
            </a:extLst>
          </p:cNvPr>
          <p:cNvSpPr txBox="1"/>
          <p:nvPr/>
        </p:nvSpPr>
        <p:spPr>
          <a:xfrm>
            <a:off x="709448" y="1201082"/>
            <a:ext cx="10773103" cy="4455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ifferentiate between stress and a stressor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xplain the sources of stress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iscuss in detail the different indicators of stress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•	Physiological Indicators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•	Psychological indicators 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•	Cognitive indicators 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xplain coping strategies</a:t>
            </a:r>
          </a:p>
          <a:p>
            <a:pPr>
              <a:lnSpc>
                <a:spcPct val="15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escribe coping with stress and the nursing management of stress in detail</a:t>
            </a:r>
          </a:p>
        </p:txBody>
      </p:sp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1002D5C8-1EE7-8C95-EBB0-10183C1D25B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305646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3797"/>
    </mc:Choice>
    <mc:Fallback>
      <p:transition spd="slow" advTm="6379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7B16B-D8E1-3DBA-B214-1015E2B50C9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30175"/>
            <a:ext cx="11393488" cy="973796"/>
          </a:xfrm>
        </p:spPr>
        <p:txBody>
          <a:bodyPr>
            <a:normAutofit/>
          </a:bodyPr>
          <a:lstStyle/>
          <a:p>
            <a:pPr algn="ctr"/>
            <a:r>
              <a:rPr lang="en-ZA" b="1" dirty="0"/>
              <a:t>WHAT IS STRESS?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EAF539-DA47-043F-4087-459D17376B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1398" y="1475532"/>
            <a:ext cx="3270692" cy="4122380"/>
          </a:xfrm>
          <a:prstGeom prst="rect">
            <a:avLst/>
          </a:prstGeom>
        </p:spPr>
      </p:pic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660E5EC5-9AEB-D976-79CA-FABEF2AA2BE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63581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91078"/>
    </mc:Choice>
    <mc:Fallback>
      <p:transition spd="slow" advTm="19107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A467C8-5E26-E6D3-E8A2-7C6B68725B4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30175"/>
            <a:ext cx="11393488" cy="707886"/>
          </a:xfrm>
        </p:spPr>
        <p:txBody>
          <a:bodyPr>
            <a:noAutofit/>
          </a:bodyPr>
          <a:lstStyle/>
          <a:p>
            <a:pPr algn="ctr"/>
            <a:r>
              <a:rPr lang="en-ZA" b="1" dirty="0"/>
              <a:t>WHAT IS A STRESSOR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AC6B2F-E199-9966-B507-36BA64EC2C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9813" y="3920971"/>
            <a:ext cx="2733675" cy="22288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C803DB0-15D7-2B60-16AF-61F9DFBF8F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9189" y="3937207"/>
            <a:ext cx="2462997" cy="18472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84AFAB0-1C2B-D3C6-BD8B-55A536853E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9876" y="3920971"/>
            <a:ext cx="3312247" cy="22288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8614C36-B621-F415-663F-AE73FA6225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9189" y="1070610"/>
            <a:ext cx="2634048" cy="26340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6A4849A-C67B-BEDE-D0AD-55DB8B05C8F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39877" y="1070610"/>
            <a:ext cx="3208956" cy="254452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7A760B8-39B1-BDA7-1A65-FA40AEFA6F4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12442" y="1070609"/>
            <a:ext cx="3851190" cy="2544529"/>
          </a:xfrm>
          <a:prstGeom prst="rect">
            <a:avLst/>
          </a:prstGeom>
        </p:spPr>
      </p:pic>
      <p:pic>
        <p:nvPicPr>
          <p:cNvPr id="13" name="Audio 12">
            <a:hlinkClick r:id="" action="ppaction://media"/>
            <a:extLst>
              <a:ext uri="{FF2B5EF4-FFF2-40B4-BE49-F238E27FC236}">
                <a16:creationId xmlns:a16="http://schemas.microsoft.com/office/drawing/2014/main" id="{CF1C545A-C32B-7119-EC80-2A1ADF948B8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839239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15784"/>
    </mc:Choice>
    <mc:Fallback>
      <p:transition spd="slow" advTm="21578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3"/>
                </p:tgtEl>
              </p:cMediaNode>
            </p:audio>
          </p:childTnLst>
        </p:cTn>
      </p:par>
    </p:tnLst>
  </p:timing>
  <p:extLst>
    <p:ext uri="{3A86A75C-4F4B-4683-9AE1-C65F6400EC91}">
      <p14:laserTraceLst xmlns:p14="http://schemas.microsoft.com/office/powerpoint/2010/main">
        <p14:tracePtLst>
          <p14:tracePt t="151497" x="990600" y="4743450"/>
          <p14:tracePt t="151703" x="1009650" y="4724400"/>
          <p14:tracePt t="151715" x="1028700" y="4705350"/>
          <p14:tracePt t="151719" x="1057275" y="4676775"/>
          <p14:tracePt t="151727" x="1143000" y="4600575"/>
          <p14:tracePt t="151758" x="1857375" y="4171950"/>
          <p14:tracePt t="151775" x="2371725" y="3810000"/>
          <p14:tracePt t="151792" x="2867025" y="3476625"/>
          <p14:tracePt t="151810" x="3314700" y="3152775"/>
          <p14:tracePt t="151825" x="3600450" y="2971800"/>
          <p14:tracePt t="151843" x="3781425" y="2838450"/>
          <p14:tracePt t="151863" x="3895725" y="2695575"/>
          <p14:tracePt t="151875" x="3914775" y="2657475"/>
          <p14:tracePt t="151894" x="3933825" y="2571750"/>
          <p14:tracePt t="151911" x="3933825" y="2552700"/>
          <p14:tracePt t="151926" x="3933825" y="2524125"/>
          <p14:tracePt t="151951" x="3924300" y="2505075"/>
          <p14:tracePt t="151967" x="3914775" y="2486025"/>
          <p14:tracePt t="151976" x="3905250" y="2486025"/>
          <p14:tracePt t="151993" x="3886200" y="2476500"/>
          <p14:tracePt t="152009" x="3857625" y="2466975"/>
          <p14:tracePt t="152024" x="3829050" y="2457450"/>
          <p14:tracePt t="152044" x="3800475" y="2457450"/>
          <p14:tracePt t="152059" x="3743325" y="2457450"/>
          <p14:tracePt t="152078" x="3609975" y="2457450"/>
          <p14:tracePt t="152095" x="3524250" y="2457450"/>
          <p14:tracePt t="152110" x="3467100" y="2457450"/>
          <p14:tracePt t="152126" x="3400425" y="2457450"/>
          <p14:tracePt t="152141" x="3362325" y="2457450"/>
          <p14:tracePt t="152158" x="3333750" y="2457450"/>
          <p14:tracePt t="152174" x="3286125" y="2466975"/>
          <p14:tracePt t="152191" x="3257550" y="2476500"/>
          <p14:tracePt t="152208" x="3209925" y="2476500"/>
          <p14:tracePt t="152224" x="3200400" y="2476500"/>
          <p14:tracePt t="152242" x="3190875" y="2476500"/>
          <p14:tracePt t="152261" x="3181350" y="2486025"/>
          <p14:tracePt t="152381" x="3171825" y="2486025"/>
          <p14:tracePt t="152390" x="3162300" y="2486025"/>
          <p14:tracePt t="152406" x="3143250" y="2495550"/>
          <p14:tracePt t="152414" x="3133725" y="2505075"/>
          <p14:tracePt t="152426" x="3133725" y="2514600"/>
          <p14:tracePt t="152444" x="3133725" y="2609850"/>
          <p14:tracePt t="152462" x="3333750" y="2838450"/>
          <p14:tracePt t="152475" x="3419475" y="2914650"/>
          <p14:tracePt t="152494" x="3933825" y="3124200"/>
          <p14:tracePt t="152511" x="4562475" y="3305175"/>
          <p14:tracePt t="152526" x="5229225" y="3409950"/>
          <p14:tracePt t="152543" x="5857875" y="3419475"/>
          <p14:tracePt t="152561" x="6400800" y="3419475"/>
          <p14:tracePt t="152575" x="6686550" y="3400425"/>
          <p14:tracePt t="152593" x="6772275" y="3362325"/>
          <p14:tracePt t="152612" x="6781800" y="3343275"/>
          <p14:tracePt t="152641" x="6762750" y="3343275"/>
          <p14:tracePt t="152648" x="6705600" y="3343275"/>
          <p14:tracePt t="152662" x="6524625" y="3343275"/>
          <p14:tracePt t="152675" x="6419850" y="3343275"/>
          <p14:tracePt t="152691" x="6172200" y="3343275"/>
          <p14:tracePt t="152710" x="5638800" y="3343275"/>
          <p14:tracePt t="152728" x="5448300" y="3362325"/>
          <p14:tracePt t="152741" x="5353050" y="3400425"/>
          <p14:tracePt t="152759" x="5267325" y="3429000"/>
          <p14:tracePt t="152777" x="5229225" y="3457575"/>
          <p14:tracePt t="152792" x="5210175" y="3514725"/>
          <p14:tracePt t="152809" x="5200650" y="3590925"/>
          <p14:tracePt t="152825" x="5200650" y="3648075"/>
          <p14:tracePt t="152842" x="5200650" y="3695700"/>
          <p14:tracePt t="152861" x="5210175" y="3714750"/>
          <p14:tracePt t="152875" x="5248275" y="3771900"/>
          <p14:tracePt t="152894" x="5353050" y="3867150"/>
          <p14:tracePt t="152910" x="5419725" y="3924300"/>
          <p14:tracePt t="152928" x="5476875" y="3962400"/>
          <p14:tracePt t="152941" x="5514975" y="3981450"/>
          <p14:tracePt t="152958" x="5534025" y="3990975"/>
          <p14:tracePt t="152975" x="5543550" y="3990975"/>
          <p14:tracePt t="152993" x="5553075" y="3990975"/>
          <p14:tracePt t="153013" x="5553075" y="3981450"/>
          <p14:tracePt t="155382" x="5553075" y="3971925"/>
          <p14:tracePt t="155398" x="5524500" y="3971925"/>
          <p14:tracePt t="155409" x="5486400" y="3962400"/>
          <p14:tracePt t="155414" x="5457825" y="3943350"/>
          <p14:tracePt t="155424" x="5400675" y="3924300"/>
          <p14:tracePt t="155442" x="5343525" y="3914775"/>
          <p14:tracePt t="155459" x="5286375" y="3867150"/>
          <p14:tracePt t="155475" x="5172075" y="3771900"/>
          <p14:tracePt t="155494" x="5067300" y="3657600"/>
          <p14:tracePt t="155507" x="4991100" y="3524250"/>
          <p14:tracePt t="155527" x="4867275" y="3305175"/>
          <p14:tracePt t="155546" x="4791075" y="3162300"/>
          <p14:tracePt t="155557" x="4743450" y="3067050"/>
          <p14:tracePt t="155575" x="4705350" y="2990850"/>
          <p14:tracePt t="155593" x="4676775" y="2895600"/>
          <p14:tracePt t="155608" x="4638675" y="2828925"/>
          <p14:tracePt t="155625" x="4610100" y="2781300"/>
          <p14:tracePt t="155642" x="4581525" y="2724150"/>
          <p14:tracePt t="155659" x="4552950" y="2686050"/>
          <p14:tracePt t="155675" x="4514850" y="2647950"/>
          <p14:tracePt t="155692" x="4495800" y="2628900"/>
          <p14:tracePt t="155710" x="4476750" y="2609850"/>
          <p14:tracePt t="155726" x="4467225" y="2609850"/>
          <p14:tracePt t="155742" x="4457700" y="2609850"/>
          <p14:tracePt t="156070" x="4438650" y="2609850"/>
          <p14:tracePt t="156079" x="4419600" y="2609850"/>
          <p14:tracePt t="156097" x="4410075" y="2609850"/>
          <p14:tracePt t="156110" x="4391025" y="2600325"/>
          <p14:tracePt t="156127" x="4362450" y="2590800"/>
          <p14:tracePt t="156153" x="4295775" y="2571750"/>
          <p14:tracePt t="156159" x="4257675" y="2552700"/>
          <p14:tracePt t="156176" x="4191000" y="2543175"/>
          <p14:tracePt t="156192" x="4095750" y="2514600"/>
          <p14:tracePt t="156208" x="3952875" y="2476500"/>
          <p14:tracePt t="156231" x="3800475" y="2400300"/>
          <p14:tracePt t="156240" x="3752850" y="2390775"/>
          <p14:tracePt t="156258" x="3695700" y="2371725"/>
          <p14:tracePt t="156274" x="3629025" y="2362200"/>
          <p14:tracePt t="156291" x="3533775" y="2343150"/>
          <p14:tracePt t="156310" x="3362325" y="2286000"/>
          <p14:tracePt t="156327" x="3295650" y="2276475"/>
          <p14:tracePt t="156340" x="3267075" y="2266950"/>
          <p14:tracePt t="156358" x="3219450" y="2247900"/>
          <p14:tracePt t="156374" x="3200400" y="2247900"/>
          <p14:tracePt t="156390" x="3190875" y="2247900"/>
          <p14:tracePt t="156749" x="3181350" y="2247900"/>
          <p14:tracePt t="156790" x="3171825" y="2247900"/>
          <p14:tracePt t="156806" x="3162300" y="2247900"/>
          <p14:tracePt t="156821" x="3152775" y="2247900"/>
          <p14:tracePt t="156844" x="3133725" y="2247900"/>
          <p14:tracePt t="156860" x="3124200" y="2247900"/>
          <p14:tracePt t="156868" x="3114675" y="2247900"/>
          <p14:tracePt t="156885" x="3095625" y="2247900"/>
          <p14:tracePt t="156892" x="3086100" y="2247900"/>
          <p14:tracePt t="156906" x="3076575" y="2247900"/>
          <p14:tracePt t="156922" x="3057525" y="2247900"/>
          <p14:tracePt t="156939" x="3019425" y="2257425"/>
          <p14:tracePt t="156956" x="2943225" y="2276475"/>
          <p14:tracePt t="156972" x="2752725" y="2305050"/>
          <p14:tracePt t="156989" x="2619375" y="2333625"/>
          <p14:tracePt t="157006" x="2571750" y="2343150"/>
          <p14:tracePt t="157022" x="2552700" y="2343150"/>
          <p14:tracePt t="157044" x="2533650" y="2352675"/>
          <p14:tracePt t="157060" x="2514600" y="2371725"/>
          <p14:tracePt t="157073" x="2505075" y="2381250"/>
          <p14:tracePt t="157090" x="2495550" y="2428875"/>
          <p14:tracePt t="157106" x="2495550" y="2524125"/>
          <p14:tracePt t="157122" x="2524125" y="2686050"/>
          <p14:tracePt t="157140" x="2571750" y="2962275"/>
          <p14:tracePt t="157156" x="2590800" y="3143250"/>
          <p14:tracePt t="157173" x="2590800" y="3381375"/>
          <p14:tracePt t="157191" x="2600325" y="3676650"/>
          <p14:tracePt t="157208" x="2647950" y="3971925"/>
          <p14:tracePt t="157225" x="2676525" y="4238625"/>
          <p14:tracePt t="157242" x="2724150" y="4505325"/>
          <p14:tracePt t="157258" x="2771775" y="4733925"/>
          <p14:tracePt t="157273" x="2838450" y="4924425"/>
          <p14:tracePt t="157290" x="2905125" y="5114925"/>
          <p14:tracePt t="157307" x="2990850" y="5257800"/>
          <p14:tracePt t="157323" x="3076575" y="5400675"/>
          <p14:tracePt t="157340" x="3162300" y="5514975"/>
          <p14:tracePt t="157357" x="3305175" y="5657850"/>
          <p14:tracePt t="157374" x="3400425" y="5724525"/>
          <p14:tracePt t="157391" x="3448050" y="5753100"/>
          <p14:tracePt t="157407" x="3505200" y="5772150"/>
          <p14:tracePt t="157423" x="3543300" y="5772150"/>
          <p14:tracePt t="157439" x="3590925" y="5772150"/>
          <p14:tracePt t="157457" x="3657600" y="5762625"/>
          <p14:tracePt t="157475" x="3752850" y="5743575"/>
          <p14:tracePt t="157490" x="3943350" y="5676900"/>
          <p14:tracePt t="157508" x="4191000" y="5600700"/>
          <p14:tracePt t="157526" x="4572000" y="5505450"/>
          <p14:tracePt t="157542" x="4762500" y="5457825"/>
          <p14:tracePt t="157558" x="4933950" y="5419725"/>
          <p14:tracePt t="157575" x="5057775" y="5400675"/>
          <p14:tracePt t="157591" x="5153025" y="5381625"/>
          <p14:tracePt t="157609" x="5229225" y="5362575"/>
          <p14:tracePt t="157626" x="5248275" y="5353050"/>
          <p14:tracePt t="157641" x="5286375" y="5353050"/>
          <p14:tracePt t="157735" x="5295900" y="5343525"/>
          <p14:tracePt t="157751" x="5295900" y="5334000"/>
          <p14:tracePt t="157759" x="5295900" y="5324475"/>
          <p14:tracePt t="157766" x="5295900" y="5305425"/>
          <p14:tracePt t="162757" x="5305425" y="5295900"/>
          <p14:tracePt t="163255" x="5305425" y="5305425"/>
          <p14:tracePt t="165935" x="5314950" y="5314950"/>
          <p14:tracePt t="165942" x="5381625" y="5314950"/>
          <p14:tracePt t="165956" x="5476875" y="5314950"/>
          <p14:tracePt t="165974" x="5838825" y="5314950"/>
          <p14:tracePt t="165990" x="6219825" y="5314950"/>
          <p14:tracePt t="166006" x="6657975" y="5314950"/>
          <p14:tracePt t="166021" x="6915150" y="5314950"/>
          <p14:tracePt t="166037" x="7924800" y="5314950"/>
          <p14:tracePt t="166055" x="8705850" y="5314950"/>
          <p14:tracePt t="166071" x="9429750" y="5324475"/>
          <p14:tracePt t="166089" x="10077450" y="5410200"/>
          <p14:tracePt t="166105" x="10648950" y="5486400"/>
          <p14:tracePt t="166122" x="11249025" y="5581650"/>
          <p14:tracePt t="166137" x="11839575" y="5638800"/>
          <p14:tracePt t="166156" x="12182475" y="5638800"/>
          <p14:tracePt t="166208" x="12182475" y="5629275"/>
          <p14:tracePt t="166222" x="12182475" y="5619750"/>
          <p14:tracePt t="166229" x="12172950" y="5610225"/>
          <p14:tracePt t="166238" x="12144375" y="5572125"/>
          <p14:tracePt t="166254" x="12049125" y="5524500"/>
          <p14:tracePt t="166271" x="11982450" y="5486400"/>
          <p14:tracePt t="166289" x="11934825" y="5476875"/>
          <p14:tracePt t="166305" x="11877675" y="5457825"/>
          <p14:tracePt t="166322" x="11734800" y="5438775"/>
          <p14:tracePt t="166339" x="11525250" y="5400675"/>
          <p14:tracePt t="166355" x="11296650" y="5343525"/>
          <p14:tracePt t="166372" x="11077575" y="5324475"/>
          <p14:tracePt t="166390" x="10810875" y="5305425"/>
          <p14:tracePt t="166403" x="10744200" y="5305425"/>
          <p14:tracePt t="166423" x="10544175" y="5343525"/>
          <p14:tracePt t="166439" x="10448925" y="5381625"/>
          <p14:tracePt t="166455" x="10420350" y="5391150"/>
          <p14:tracePt t="166475" x="10410825" y="5400675"/>
          <p14:tracePt t="166495" x="10410825" y="5410200"/>
          <p14:tracePt t="166505" x="10410825" y="5429250"/>
          <p14:tracePt t="166521" x="10410825" y="5438775"/>
          <p14:tracePt t="166647" x="10410825" y="5429250"/>
          <p14:tracePt t="166655" x="10391775" y="5391150"/>
          <p14:tracePt t="166664" x="10372725" y="5324475"/>
          <p14:tracePt t="166670" x="10334625" y="5248275"/>
          <p14:tracePt t="166688" x="10201275" y="5076825"/>
          <p14:tracePt t="166705" x="10077450" y="4943475"/>
          <p14:tracePt t="166723" x="10048875" y="4914900"/>
          <p14:tracePt t="166740" x="10029825" y="4914900"/>
          <p14:tracePt t="166781" x="10020300" y="4914900"/>
          <p14:tracePt t="166871" x="10020300" y="4924425"/>
          <p14:tracePt t="167749" x="9982200" y="4924425"/>
          <p14:tracePt t="167757" x="9915525" y="4924425"/>
          <p14:tracePt t="167770" x="9867900" y="4924425"/>
          <p14:tracePt t="167787" x="9734550" y="4924425"/>
          <p14:tracePt t="167806" x="9610725" y="4924425"/>
          <p14:tracePt t="167824" x="9525000" y="4924425"/>
          <p14:tracePt t="167842" x="9448800" y="4924425"/>
          <p14:tracePt t="167855" x="9324975" y="4924425"/>
          <p14:tracePt t="167871" x="9172575" y="4924425"/>
          <p14:tracePt t="167887" x="9001125" y="4924425"/>
          <p14:tracePt t="167904" x="8753475" y="4924425"/>
          <p14:tracePt t="167921" x="8201025" y="4924425"/>
          <p14:tracePt t="167938" x="7191375" y="4924425"/>
          <p14:tracePt t="167954" x="6172200" y="4981575"/>
          <p14:tracePt t="167971" x="5486400" y="5362575"/>
          <p14:tracePt t="167987" x="5133975" y="5772150"/>
          <p14:tracePt t="168008" x="4829175" y="6391275"/>
          <p14:tracePt t="168021" x="4819650" y="6686550"/>
          <p14:tracePt t="168126" x="8791575" y="6781800"/>
          <p14:tracePt t="168134" x="8982075" y="6429375"/>
          <p14:tracePt t="168142" x="9067800" y="6096000"/>
          <p14:tracePt t="168154" x="9086850" y="5753100"/>
          <p14:tracePt t="168170" x="8982075" y="5124450"/>
          <p14:tracePt t="168187" x="8620125" y="4581525"/>
          <p14:tracePt t="168207" x="7781925" y="3990975"/>
          <p14:tracePt t="168223" x="7162800" y="3819525"/>
          <p14:tracePt t="168239" x="6591300" y="3810000"/>
          <p14:tracePt t="168255" x="6048375" y="3943350"/>
          <p14:tracePt t="168272" x="5600700" y="4238625"/>
          <p14:tracePt t="168289" x="5295900" y="4619625"/>
          <p14:tracePt t="168303" x="5219700" y="4943475"/>
          <p14:tracePt t="168321" x="5238750" y="5191125"/>
          <p14:tracePt t="168338" x="5400675" y="5343525"/>
          <p14:tracePt t="168354" x="5772150" y="5505450"/>
          <p14:tracePt t="168371" x="6457950" y="5657850"/>
          <p14:tracePt t="168388" x="7391400" y="5762625"/>
          <p14:tracePt t="168403" x="8343900" y="5762625"/>
          <p14:tracePt t="168421" x="9772650" y="5457825"/>
          <p14:tracePt t="168436" x="10172700" y="5257800"/>
          <p14:tracePt t="168454" x="10829925" y="4686300"/>
          <p14:tracePt t="168471" x="10858500" y="4467225"/>
          <p14:tracePt t="168488" x="10858500" y="4286250"/>
          <p14:tracePt t="168504" x="10687050" y="4057650"/>
          <p14:tracePt t="168521" x="10287000" y="3771900"/>
          <p14:tracePt t="168538" x="9953625" y="3543300"/>
          <p14:tracePt t="168555" x="9696450" y="3438525"/>
          <p14:tracePt t="168570" x="9610725" y="3400425"/>
          <p14:tracePt t="168599" x="9601200" y="3400425"/>
          <p14:tracePt t="168615" x="9601200" y="3409950"/>
          <p14:tracePt t="168623" x="9620250" y="3419475"/>
          <p14:tracePt t="168637" x="9639300" y="3429000"/>
          <p14:tracePt t="168935" x="9648825" y="3429000"/>
          <p14:tracePt t="168943" x="9667875" y="3390900"/>
          <p14:tracePt t="168959" x="9772650" y="3124200"/>
          <p14:tracePt t="168971" x="9858375" y="2905125"/>
          <p14:tracePt t="168987" x="9982200" y="2457450"/>
          <p14:tracePt t="169007" x="10029825" y="2066925"/>
          <p14:tracePt t="169021" x="10039350" y="1905000"/>
          <p14:tracePt t="169039" x="10039350" y="1771650"/>
          <p14:tracePt t="169056" x="10039350" y="1666875"/>
          <p14:tracePt t="169071" x="10029825" y="1619250"/>
          <p14:tracePt t="169089" x="10020300" y="1590675"/>
          <p14:tracePt t="169104" x="10001250" y="1562100"/>
          <p14:tracePt t="169121" x="9982200" y="1543050"/>
          <p14:tracePt t="169136" x="9963150" y="1533525"/>
          <p14:tracePt t="169153" x="9915525" y="1524000"/>
          <p14:tracePt t="169169" x="9848850" y="1524000"/>
          <p14:tracePt t="169186" x="9705975" y="1552575"/>
          <p14:tracePt t="169202" x="9563100" y="1609725"/>
          <p14:tracePt t="169218" x="9439275" y="1676400"/>
          <p14:tracePt t="169235" x="9324975" y="1790700"/>
          <p14:tracePt t="169252" x="9258300" y="2085975"/>
          <p14:tracePt t="169268" x="9277350" y="2324100"/>
          <p14:tracePt t="169286" x="9382125" y="2533650"/>
          <p14:tracePt t="169304" x="9582150" y="2686050"/>
          <p14:tracePt t="169320" x="9839325" y="2790825"/>
          <p14:tracePt t="169339" x="10001250" y="2809875"/>
          <p14:tracePt t="169356" x="10106025" y="2771775"/>
          <p14:tracePt t="169370" x="10306050" y="2600325"/>
          <p14:tracePt t="169386" x="10582275" y="2266950"/>
          <p14:tracePt t="169402" x="10810875" y="1885950"/>
          <p14:tracePt t="169419" x="10934700" y="1638300"/>
          <p14:tracePt t="169436" x="11001375" y="1428750"/>
          <p14:tracePt t="169455" x="11001375" y="1238250"/>
          <p14:tracePt t="169470" x="10877550" y="1123950"/>
          <p14:tracePt t="169487" x="10658475" y="1038225"/>
          <p14:tracePt t="169505" x="10382250" y="1019175"/>
          <p14:tracePt t="169520" x="10020300" y="1019175"/>
          <p14:tracePt t="169537" x="9648825" y="1114425"/>
          <p14:tracePt t="169555" x="9391650" y="1276350"/>
          <p14:tracePt t="169570" x="9229725" y="1514475"/>
          <p14:tracePt t="169588" x="9153525" y="1857375"/>
          <p14:tracePt t="169603" x="9153525" y="2114550"/>
          <p14:tracePt t="169621" x="9334500" y="2466975"/>
          <p14:tracePt t="169638" x="9505950" y="2638425"/>
          <p14:tracePt t="169654" x="9715500" y="2705100"/>
          <p14:tracePt t="169671" x="10001250" y="2743200"/>
          <p14:tracePt t="169689" x="10267950" y="2724150"/>
          <p14:tracePt t="169704" x="10677525" y="2562225"/>
          <p14:tracePt t="169720" x="11039475" y="2324100"/>
          <p14:tracePt t="169737" x="11229975" y="2162175"/>
          <p14:tracePt t="169754" x="11296650" y="2019300"/>
          <p14:tracePt t="169771" x="11296650" y="1847850"/>
          <p14:tracePt t="169788" x="11182350" y="1685925"/>
          <p14:tracePt t="169804" x="10944225" y="1466850"/>
          <p14:tracePt t="169823" x="10191750" y="1181100"/>
          <p14:tracePt t="169839" x="9686925" y="1076325"/>
          <p14:tracePt t="169857" x="9267825" y="1019175"/>
          <p14:tracePt t="169870" x="8982075" y="1009650"/>
          <p14:tracePt t="169887" x="8829675" y="1009650"/>
          <p14:tracePt t="169905" x="8782050" y="1009650"/>
          <p14:tracePt t="169922" x="8763000" y="1009650"/>
          <p14:tracePt t="169938" x="8753475" y="1019175"/>
          <p14:tracePt t="169955" x="8743950" y="1019175"/>
          <p14:tracePt t="169971" x="8743950" y="1028700"/>
          <p14:tracePt t="169988" x="8734425" y="1038225"/>
          <p14:tracePt t="170003" x="8724900" y="1047750"/>
          <p14:tracePt t="170119" x="8724900" y="1057275"/>
          <p14:tracePt t="170143" x="8724900" y="1066800"/>
          <p14:tracePt t="170166" x="8724900" y="1076325"/>
          <p14:tracePt t="170295" x="8715375" y="1085850"/>
          <p14:tracePt t="170311" x="8705850" y="1085850"/>
          <p14:tracePt t="170318" x="8705850" y="1095375"/>
          <p14:tracePt t="170327" x="8696325" y="1095375"/>
          <p14:tracePt t="170335" x="8686800" y="1104900"/>
          <p14:tracePt t="170353" x="8658225" y="1123950"/>
          <p14:tracePt t="170371" x="8639175" y="1133475"/>
          <p14:tracePt t="170388" x="8620125" y="1152525"/>
          <p14:tracePt t="170407" x="8601075" y="1181100"/>
          <p14:tracePt t="170423" x="8572500" y="1200150"/>
          <p14:tracePt t="170436" x="8562975" y="1200150"/>
          <p14:tracePt t="170456" x="8524875" y="1247775"/>
          <p14:tracePt t="170470" x="8505825" y="1304925"/>
          <p14:tracePt t="170489" x="8486775" y="1381125"/>
          <p14:tracePt t="170507" x="8467725" y="1466850"/>
          <p14:tracePt t="170522" x="8467725" y="1533525"/>
          <p14:tracePt t="170537" x="8467725" y="1619250"/>
          <p14:tracePt t="170554" x="8467725" y="1733550"/>
          <p14:tracePt t="170571" x="8496300" y="1857375"/>
          <p14:tracePt t="170587" x="8543925" y="1981200"/>
          <p14:tracePt t="170603" x="8572500" y="2095500"/>
          <p14:tracePt t="170620" x="8648700" y="2238375"/>
          <p14:tracePt t="170638" x="8743950" y="2457450"/>
          <p14:tracePt t="170654" x="8820150" y="2581275"/>
          <p14:tracePt t="170671" x="8896350" y="2667000"/>
          <p14:tracePt t="170686" x="8972550" y="2733675"/>
          <p14:tracePt t="170704" x="9096375" y="2790825"/>
          <p14:tracePt t="170720" x="9229725" y="2800350"/>
          <p14:tracePt t="170738" x="9334500" y="2800350"/>
          <p14:tracePt t="170753" x="9458325" y="2790825"/>
          <p14:tracePt t="170770" x="9620250" y="2733675"/>
          <p14:tracePt t="170789" x="9772650" y="2609850"/>
          <p14:tracePt t="170804" x="9906000" y="2466975"/>
          <p14:tracePt t="170822" x="10010775" y="2276475"/>
          <p14:tracePt t="170836" x="10020300" y="2209800"/>
          <p14:tracePt t="170854" x="10020300" y="2028825"/>
          <p14:tracePt t="170870" x="9982200" y="1905000"/>
          <p14:tracePt t="170887" x="9915525" y="1781175"/>
          <p14:tracePt t="170903" x="9848850" y="1676400"/>
          <p14:tracePt t="170920" x="9839325" y="1657350"/>
          <p14:tracePt t="170938" x="9810750" y="1628775"/>
          <p14:tracePt t="170953" x="9791700" y="1609725"/>
          <p14:tracePt t="170970" x="9782175" y="1600200"/>
          <p14:tracePt t="170987" x="9772650" y="1600200"/>
          <p14:tracePt t="171005" x="9763125" y="1600200"/>
          <p14:tracePt t="171020" x="9753600" y="1600200"/>
          <p14:tracePt t="171039" x="9744075" y="1600200"/>
          <p14:tracePt t="171055" x="9734550" y="1600200"/>
          <p14:tracePt t="171071" x="9715500" y="1600200"/>
          <p14:tracePt t="171087" x="9696450" y="1600200"/>
          <p14:tracePt t="171103" x="9677400" y="1600200"/>
          <p14:tracePt t="171120" x="9658350" y="1600200"/>
          <p14:tracePt t="171137" x="9620250" y="1609725"/>
          <p14:tracePt t="171154" x="9601200" y="1609725"/>
          <p14:tracePt t="171177" x="9572625" y="1619250"/>
          <p14:tracePt t="171206" x="9563100" y="1619250"/>
          <p14:tracePt t="171217" x="9553575" y="1628775"/>
          <p14:tracePt t="171229" x="9553575" y="1638300"/>
          <p14:tracePt t="171238" x="9544050" y="1638300"/>
          <p14:tracePt t="171252" x="9534525" y="1647825"/>
          <p14:tracePt t="171269" x="9496425" y="1676400"/>
          <p14:tracePt t="171285" x="9467850" y="1714500"/>
          <p14:tracePt t="171301" x="9458325" y="1762125"/>
          <p14:tracePt t="171318" x="9439275" y="1828800"/>
          <p14:tracePt t="171334" x="9429750" y="1866900"/>
          <p14:tracePt t="171351" x="9420225" y="1895475"/>
          <p14:tracePt t="171368" x="9410700" y="1933575"/>
          <p14:tracePt t="171385" x="9401175" y="1990725"/>
          <p14:tracePt t="171402" x="9401175" y="2047875"/>
          <p14:tracePt t="171420" x="9401175" y="2133600"/>
          <p14:tracePt t="171436" x="9401175" y="2209800"/>
          <p14:tracePt t="171456" x="9448800" y="2343150"/>
          <p14:tracePt t="171470" x="9467850" y="2390775"/>
          <p14:tracePt t="171486" x="9486900" y="2428875"/>
          <p14:tracePt t="171503" x="9505950" y="2447925"/>
          <p14:tracePt t="171536" x="9515475" y="2447925"/>
          <p14:tracePt t="171542" x="9525000" y="2447925"/>
          <p14:tracePt t="171553" x="9544050" y="2447925"/>
          <p14:tracePt t="171571" x="9601200" y="2400300"/>
          <p14:tracePt t="171585" x="9629775" y="2362200"/>
          <p14:tracePt t="171602" x="9658350" y="2333625"/>
          <p14:tracePt t="171619" x="9677400" y="2305050"/>
          <p14:tracePt t="171638" x="9686925" y="2266950"/>
          <p14:tracePt t="171652" x="9686925" y="2257425"/>
          <p14:tracePt t="171669" x="9686925" y="2209800"/>
          <p14:tracePt t="171685" x="9686925" y="2152650"/>
          <p14:tracePt t="171701" x="9658350" y="2076450"/>
          <p14:tracePt t="171720" x="9591675" y="1981200"/>
          <p14:tracePt t="171736" x="9525000" y="1914525"/>
          <p14:tracePt t="171752" x="9458325" y="1838325"/>
          <p14:tracePt t="171768" x="9372600" y="1781175"/>
          <p14:tracePt t="171784" x="9344025" y="1771650"/>
          <p14:tracePt t="171802" x="9324975" y="1762125"/>
          <p14:tracePt t="171818" x="9315450" y="1762125"/>
          <p14:tracePt t="171951" x="9305925" y="1762125"/>
          <p14:tracePt t="171978" x="9296400" y="1762125"/>
          <p14:tracePt t="171982" x="9286875" y="1762125"/>
          <p14:tracePt t="171989" x="9277350" y="1762125"/>
          <p14:tracePt t="172005" x="9267825" y="1762125"/>
          <p14:tracePt t="172019" x="9258300" y="1762125"/>
          <p14:tracePt t="172038" x="9201150" y="1762125"/>
          <p14:tracePt t="172052" x="9182100" y="1762125"/>
          <p14:tracePt t="172069" x="9086850" y="1762125"/>
          <p14:tracePt t="172087" x="8991600" y="1762125"/>
          <p14:tracePt t="172103" x="8915400" y="1762125"/>
          <p14:tracePt t="172121" x="8867775" y="1762125"/>
          <p14:tracePt t="172137" x="8848725" y="1762125"/>
          <p14:tracePt t="172154" x="8829675" y="1762125"/>
          <p14:tracePt t="172171" x="8810625" y="1762125"/>
          <p14:tracePt t="172582" x="8801100" y="1771650"/>
          <p14:tracePt t="172600" x="8801100" y="1781175"/>
          <p14:tracePt t="172606" x="8810625" y="1790700"/>
          <p14:tracePt t="172622" x="8810625" y="1800225"/>
          <p14:tracePt t="172639" x="8829675" y="1800225"/>
          <p14:tracePt t="172654" x="8848725" y="1819275"/>
          <p14:tracePt t="172670" x="8867775" y="1828800"/>
          <p14:tracePt t="172690" x="8886825" y="1857375"/>
          <p14:tracePt t="172703" x="8915400" y="1876425"/>
          <p14:tracePt t="172719" x="8953500" y="1905000"/>
          <p14:tracePt t="172736" x="8982075" y="1924050"/>
          <p14:tracePt t="172753" x="9001125" y="1943100"/>
          <p14:tracePt t="172769" x="9029700" y="1971675"/>
          <p14:tracePt t="172785" x="9058275" y="2000250"/>
          <p14:tracePt t="172802" x="9096375" y="2028825"/>
          <p14:tracePt t="172819" x="9124950" y="2066925"/>
          <p14:tracePt t="172836" x="9163050" y="2095500"/>
          <p14:tracePt t="172854" x="9201150" y="2114550"/>
          <p14:tracePt t="172872" x="9210675" y="2124075"/>
          <p14:tracePt t="172886" x="9220200" y="2124075"/>
          <p14:tracePt t="172902" x="9229725" y="2124075"/>
          <p14:tracePt t="172919" x="9239250" y="2124075"/>
          <p14:tracePt t="172936" x="9277350" y="2085975"/>
          <p14:tracePt t="172952" x="9286875" y="2028825"/>
          <p14:tracePt t="172969" x="9296400" y="1990725"/>
          <p14:tracePt t="172986" x="9296400" y="1952625"/>
          <p14:tracePt t="173003" x="9296400" y="1924050"/>
          <p14:tracePt t="173018" x="9296400" y="1905000"/>
          <p14:tracePt t="173079" x="9286875" y="1905000"/>
          <p14:tracePt t="173086" x="9248775" y="1914525"/>
          <p14:tracePt t="173095" x="9239250" y="1933575"/>
          <p14:tracePt t="173101" x="9220200" y="1962150"/>
          <p14:tracePt t="173118" x="9191625" y="2009775"/>
          <p14:tracePt t="173136" x="9182100" y="2066925"/>
          <p14:tracePt t="173153" x="9182100" y="2114550"/>
          <p14:tracePt t="173169" x="9182100" y="2152650"/>
          <p14:tracePt t="173186" x="9172575" y="2238375"/>
          <p14:tracePt t="173203" x="9182100" y="2314575"/>
          <p14:tracePt t="173220" x="9229725" y="2419350"/>
          <p14:tracePt t="173236" x="9305925" y="2495550"/>
          <p14:tracePt t="173254" x="9363075" y="2552700"/>
          <p14:tracePt t="173397" x="9363075" y="2543175"/>
          <p14:tracePt t="176928" x="9353550" y="2543175"/>
          <p14:tracePt t="176943" x="9344025" y="2543175"/>
          <p14:tracePt t="176950" x="9334500" y="2543175"/>
          <p14:tracePt t="176959" x="9324975" y="2543175"/>
          <p14:tracePt t="176975" x="9315450" y="2543175"/>
          <p14:tracePt t="176985" x="9305925" y="2543175"/>
          <p14:tracePt t="177000" x="9296400" y="2543175"/>
          <p14:tracePt t="177247" x="9286875" y="2552700"/>
          <p14:tracePt t="177284" x="9286875" y="2562225"/>
          <p14:tracePt t="177301" x="9286875" y="2581275"/>
          <p14:tracePt t="177316" x="9286875" y="2600325"/>
          <p14:tracePt t="177324" x="9296400" y="2600325"/>
          <p14:tracePt t="177356" x="9296400" y="2609850"/>
          <p14:tracePt t="177372" x="9296400" y="2619375"/>
          <p14:tracePt t="177380" x="9277350" y="2628900"/>
          <p14:tracePt t="177388" x="9248775" y="2628900"/>
          <p14:tracePt t="177399" x="9201150" y="2628900"/>
          <p14:tracePt t="177416" x="9096375" y="2628900"/>
          <p14:tracePt t="177432" x="8953500" y="2600325"/>
          <p14:tracePt t="177449" x="8801100" y="2505075"/>
          <p14:tracePt t="177465" x="8648700" y="2419350"/>
          <p14:tracePt t="177483" x="8524875" y="2352675"/>
          <p14:tracePt t="177499" x="8391525" y="2295525"/>
          <p14:tracePt t="177516" x="8267700" y="2247900"/>
          <p14:tracePt t="177534" x="7981950" y="2162175"/>
          <p14:tracePt t="177550" x="7686675" y="2076450"/>
          <p14:tracePt t="177566" x="7229475" y="1971675"/>
          <p14:tracePt t="177584" x="6705600" y="1885950"/>
          <p14:tracePt t="177600" x="6105525" y="1790700"/>
          <p14:tracePt t="177616" x="5676900" y="1695450"/>
          <p14:tracePt t="177633" x="5372100" y="1581150"/>
          <p14:tracePt t="177651" x="5210175" y="1495425"/>
          <p14:tracePt t="177666" x="5038725" y="1371600"/>
          <p14:tracePt t="177682" x="4867275" y="1219200"/>
          <p14:tracePt t="177700" x="4781550" y="1123950"/>
          <p14:tracePt t="177715" x="4724400" y="1057275"/>
          <p14:tracePt t="177732" x="4705350" y="1019175"/>
          <p14:tracePt t="177797" x="4686300" y="1019175"/>
          <p14:tracePt t="177812" x="4676775" y="1019175"/>
          <p14:tracePt t="177829" x="4667250" y="1009650"/>
          <p14:tracePt t="177836" x="4648200" y="1009650"/>
          <p14:tracePt t="177849" x="4619625" y="1009650"/>
          <p14:tracePt t="177865" x="4495800" y="962025"/>
          <p14:tracePt t="177882" x="4267200" y="866775"/>
          <p14:tracePt t="177899" x="3905250" y="809625"/>
          <p14:tracePt t="177917" x="3390900" y="742950"/>
          <p14:tracePt t="177932" x="3238500" y="742950"/>
          <p14:tracePt t="177949" x="3124200" y="781050"/>
          <p14:tracePt t="177965" x="2962275" y="885825"/>
          <p14:tracePt t="177982" x="2667000" y="1228725"/>
          <p14:tracePt t="178000" x="2428875" y="1619250"/>
          <p14:tracePt t="178016" x="2324100" y="1981200"/>
          <p14:tracePt t="178032" x="2257425" y="2209800"/>
          <p14:tracePt t="178049" x="2209800" y="2409825"/>
          <p14:tracePt t="178065" x="2143125" y="2619375"/>
          <p14:tracePt t="178082" x="2095500" y="2771775"/>
          <p14:tracePt t="178099" x="2047875" y="2895600"/>
          <p14:tracePt t="178115" x="2000250" y="2990850"/>
          <p14:tracePt t="178133" x="1885950" y="3133725"/>
          <p14:tracePt t="178149" x="1800225" y="3238500"/>
          <p14:tracePt t="178165" x="1704975" y="3305175"/>
          <p14:tracePt t="178182" x="1543050" y="3409950"/>
          <p14:tracePt t="178199" x="1333500" y="3505200"/>
          <p14:tracePt t="178215" x="1152525" y="3571875"/>
          <p14:tracePt t="178233" x="981075" y="3600450"/>
          <p14:tracePt t="178249" x="885825" y="3600450"/>
          <p14:tracePt t="178266" x="819150" y="3619500"/>
          <p14:tracePt t="178284" x="695325" y="3657600"/>
          <p14:tracePt t="178299" x="590550" y="3695700"/>
          <p14:tracePt t="178316" x="447675" y="3752850"/>
          <p14:tracePt t="178332" x="219075" y="3876675"/>
          <p14:tracePt t="178349" x="9525" y="4000500"/>
          <p14:tracePt t="178734" x="11247438" y="4168775"/>
          <p14:tracePt t="178750" x="9713913" y="4168775"/>
          <p14:tracePt t="178766" x="8110538" y="4168775"/>
          <p14:tracePt t="178783" x="6310313" y="4168775"/>
          <p14:tracePt t="178800" x="4562475" y="4168775"/>
          <p14:tracePt t="178817" x="3244850" y="4168775"/>
          <p14:tracePt t="178833" x="2281238" y="4168775"/>
          <p14:tracePt t="178850" x="1550988" y="4168775"/>
          <p14:tracePt t="178867" x="873125" y="4168775"/>
          <p14:tracePt t="178883" x="409575" y="4168775"/>
          <p14:tracePt t="178901" x="266700" y="4168775"/>
          <p14:tracePt t="178918" x="196850" y="4168775"/>
          <p14:tracePt t="178933" x="71438" y="4168775"/>
          <p14:tracePt t="179406" x="1301750" y="3206750"/>
          <p14:tracePt t="179415" x="2441575" y="2903538"/>
          <p14:tracePt t="179432" x="5257800" y="2547938"/>
          <p14:tracePt t="179448" x="8093075" y="2173288"/>
          <p14:tracePt t="179465" x="11390313" y="1906588"/>
          <p14:tracePt t="179520" x="2085975" y="3752850"/>
          <p14:tracePt t="179536" x="3905250" y="3495675"/>
          <p14:tracePt t="179550" x="5572125" y="3305175"/>
          <p14:tracePt t="179566" x="6962775" y="3305175"/>
          <p14:tracePt t="179583" x="8124825" y="3305175"/>
          <p14:tracePt t="179601" x="9048750" y="3305175"/>
          <p14:tracePt t="179617" x="9772650" y="3305175"/>
          <p14:tracePt t="179634" x="10344150" y="3305175"/>
          <p14:tracePt t="179650" x="10582275" y="3286125"/>
          <p14:tracePt t="179670" x="10648950" y="3267075"/>
          <p14:tracePt t="179686" x="10658475" y="3257550"/>
          <p14:tracePt t="179757" x="10639425" y="3257550"/>
          <p14:tracePt t="179765" x="10620375" y="3267075"/>
          <p14:tracePt t="179774" x="10601325" y="3295650"/>
          <p14:tracePt t="179782" x="10572750" y="3305175"/>
          <p14:tracePt t="179798" x="10553700" y="3324225"/>
          <p14:tracePt t="179815" x="10525125" y="3352800"/>
          <p14:tracePt t="179832" x="10506075" y="3371850"/>
          <p14:tracePt t="179848" x="10458450" y="3409950"/>
          <p14:tracePt t="179865" x="10372725" y="3448050"/>
          <p14:tracePt t="179884" x="10287000" y="3486150"/>
          <p14:tracePt t="179900" x="10153650" y="3505200"/>
          <p14:tracePt t="179918" x="9925050" y="3505200"/>
          <p14:tracePt t="179935" x="9734550" y="3505200"/>
          <p14:tracePt t="179951" x="9544050" y="3486150"/>
          <p14:tracePt t="179965" x="9363075" y="3438525"/>
          <p14:tracePt t="179984" x="9124950" y="3390900"/>
          <p14:tracePt t="180000" x="8924925" y="3333750"/>
          <p14:tracePt t="180018" x="8715375" y="3276600"/>
          <p14:tracePt t="180034" x="8582025" y="3219450"/>
          <p14:tracePt t="180050" x="8439150" y="3171825"/>
          <p14:tracePt t="180071" x="8258175" y="3124200"/>
          <p14:tracePt t="180083" x="8201025" y="3114675"/>
          <p14:tracePt t="180101" x="8153400" y="3095625"/>
          <p14:tracePt t="180182" x="8134350" y="3095625"/>
          <p14:tracePt t="180206" x="8124825" y="3095625"/>
          <p14:tracePt t="180231" x="8124825" y="3105150"/>
          <p14:tracePt t="180311" x="8124825" y="3114675"/>
          <p14:tracePt t="180351" x="8124825" y="3124200"/>
          <p14:tracePt t="180361" x="8124825" y="3133725"/>
          <p14:tracePt t="180374" x="8134350" y="3152775"/>
          <p14:tracePt t="180384" x="8134350" y="3162300"/>
          <p14:tracePt t="180400" x="8153400" y="3190875"/>
          <p14:tracePt t="180418" x="8172450" y="3209925"/>
          <p14:tracePt t="180434" x="8201025" y="3228975"/>
          <p14:tracePt t="180450" x="8248650" y="3248025"/>
          <p14:tracePt t="180467" x="8324850" y="3276600"/>
          <p14:tracePt t="180484" x="8420100" y="3314700"/>
          <p14:tracePt t="180501" x="8553450" y="3352800"/>
          <p14:tracePt t="180518" x="8620125" y="3371850"/>
          <p14:tracePt t="180534" x="8658225" y="3381375"/>
          <p14:tracePt t="180568" x="8658225" y="3390900"/>
          <p14:tracePt t="180815" x="8658225" y="3381375"/>
          <p14:tracePt t="181878" x="8658225" y="3371850"/>
          <p14:tracePt t="185862" x="8667750" y="3362325"/>
          <p14:tracePt t="185869" x="8667750" y="3352800"/>
          <p14:tracePt t="185882" x="8677275" y="3352800"/>
          <p14:tracePt t="185899" x="8686800" y="3343275"/>
          <p14:tracePt t="185917" x="8696325" y="3333750"/>
          <p14:tracePt t="185932" x="8763000" y="3314700"/>
          <p14:tracePt t="185948" x="8905875" y="3295650"/>
          <p14:tracePt t="185965" x="9172575" y="3286125"/>
          <p14:tracePt t="185982" x="9267825" y="3286125"/>
          <p14:tracePt t="186007" x="9248775" y="3305175"/>
          <p14:tracePt t="186014" x="9134475" y="3314700"/>
          <p14:tracePt t="186031" x="8562975" y="3314700"/>
          <p14:tracePt t="186048" x="7553325" y="3295650"/>
          <p14:tracePt t="186064" x="6305550" y="3228975"/>
          <p14:tracePt t="186080" x="5124450" y="3228975"/>
          <p14:tracePt t="186097" x="4067175" y="3228975"/>
          <p14:tracePt t="186114" x="3181350" y="3257550"/>
          <p14:tracePt t="186130" x="2238375" y="3457575"/>
          <p14:tracePt t="186150" x="1114425" y="3848100"/>
          <p14:tracePt t="186163" x="876300" y="3933825"/>
          <p14:tracePt t="186180" x="676275" y="4048125"/>
          <p14:tracePt t="186196" x="647700" y="4067175"/>
          <p14:tracePt t="186232" x="666750" y="4095750"/>
          <p14:tracePt t="186243" x="676275" y="4105275"/>
          <p14:tracePt t="186247" x="695325" y="4124325"/>
          <p14:tracePt t="186264" x="733425" y="4191000"/>
          <p14:tracePt t="186282" x="752475" y="4276725"/>
          <p14:tracePt t="186299" x="771525" y="4381500"/>
          <p14:tracePt t="186314" x="771525" y="4514850"/>
          <p14:tracePt t="186334" x="742950" y="4743450"/>
          <p14:tracePt t="186350" x="676275" y="4962525"/>
          <p14:tracePt t="186364" x="628650" y="5048250"/>
          <p14:tracePt t="186382" x="504825" y="5334000"/>
          <p14:tracePt t="186398" x="419100" y="5476875"/>
          <p14:tracePt t="186415" x="361950" y="5610225"/>
          <p14:tracePt t="186432" x="266700" y="5743575"/>
          <p14:tracePt t="186448" x="161925" y="5867400"/>
          <p14:tracePt t="186465" x="28575" y="5981700"/>
          <p14:tracePt t="186813" x="400050" y="5476875"/>
          <p14:tracePt t="186821" x="714375" y="5372100"/>
          <p14:tracePt t="186829" x="1114425" y="5286375"/>
          <p14:tracePt t="186846" x="1838325" y="5076825"/>
          <p14:tracePt t="186864" x="2667000" y="4848225"/>
          <p14:tracePt t="186881" x="3467100" y="4600575"/>
          <p14:tracePt t="186899" x="4314825" y="4362450"/>
          <p14:tracePt t="186915" x="4838700" y="4191000"/>
          <p14:tracePt t="186932" x="5133975" y="4095750"/>
          <p14:tracePt t="186950" x="5286375" y="4010025"/>
          <p14:tracePt t="186966" x="5324475" y="3981450"/>
          <p14:tracePt t="186983" x="5343525" y="3933825"/>
          <p14:tracePt t="187001" x="5372100" y="3876675"/>
          <p14:tracePt t="187014" x="5400675" y="3819525"/>
          <p14:tracePt t="187032" x="5438775" y="3771900"/>
          <p14:tracePt t="187048" x="5476875" y="3714750"/>
          <p14:tracePt t="187065" x="5524500" y="3648075"/>
          <p14:tracePt t="187081" x="5581650" y="3581400"/>
          <p14:tracePt t="187097" x="5695950" y="3486150"/>
          <p14:tracePt t="187114" x="5857875" y="3419475"/>
          <p14:tracePt t="187133" x="6029325" y="3352800"/>
          <p14:tracePt t="187150" x="6267450" y="3314700"/>
          <p14:tracePt t="187167" x="6372225" y="3314700"/>
          <p14:tracePt t="187182" x="6429375" y="3333750"/>
          <p14:tracePt t="187199" x="6448425" y="3352800"/>
          <p14:tracePt t="187215" x="6486525" y="3390900"/>
          <p14:tracePt t="187230" x="6505575" y="3429000"/>
          <p14:tracePt t="187248" x="6524625" y="3486150"/>
          <p14:tracePt t="187264" x="6534150" y="3524250"/>
          <p14:tracePt t="187282" x="6553200" y="3543300"/>
          <p14:tracePt t="187511" x="6553200" y="3552825"/>
          <p14:tracePt t="187615" x="6562725" y="3552825"/>
          <p14:tracePt t="187687" x="6572250" y="3552825"/>
          <p14:tracePt t="187784" x="6572250" y="3562350"/>
          <p14:tracePt t="187807" x="6581775" y="3562350"/>
          <p14:tracePt t="187886" x="6591300" y="3562350"/>
          <p14:tracePt t="188229" x="6600825" y="3562350"/>
          <p14:tracePt t="188245" x="6610350" y="3562350"/>
          <p14:tracePt t="188252" x="6619875" y="3562350"/>
          <p14:tracePt t="188277" x="6629400" y="3562350"/>
          <p14:tracePt t="188284" x="6638925" y="3562350"/>
          <p14:tracePt t="188295" x="6648450" y="3562350"/>
          <p14:tracePt t="188312" x="6648450" y="3552825"/>
          <p14:tracePt t="188431" x="6638925" y="3552825"/>
          <p14:tracePt t="188439" x="6591300" y="3552825"/>
          <p14:tracePt t="188447" x="6562725" y="3552825"/>
          <p14:tracePt t="188465" x="6410325" y="3629025"/>
          <p14:tracePt t="188481" x="6162675" y="3762375"/>
          <p14:tracePt t="188498" x="5734050" y="4010025"/>
          <p14:tracePt t="188514" x="5029200" y="4381500"/>
          <p14:tracePt t="188531" x="4124325" y="4819650"/>
          <p14:tracePt t="188547" x="3248025" y="5210175"/>
          <p14:tracePt t="188563" x="2733675" y="5419725"/>
          <p14:tracePt t="188583" x="2390775" y="5534025"/>
          <p14:tracePt t="188603" x="2305050" y="5543550"/>
          <p14:tracePt t="188612" x="2295525" y="5553075"/>
          <p14:tracePt t="188991" x="2305050" y="5553075"/>
          <p14:tracePt t="189081" x="2314575" y="5553075"/>
          <p14:tracePt t="189096" x="2314575" y="5543550"/>
          <p14:tracePt t="189103" x="2324100" y="5543550"/>
          <p14:tracePt t="189119" x="2333625" y="5534025"/>
          <p14:tracePt t="189143" x="2343150" y="5524500"/>
          <p14:tracePt t="189159" x="2352675" y="5514975"/>
          <p14:tracePt t="189175" x="2362200" y="5514975"/>
          <p14:tracePt t="189183" x="2362200" y="5505450"/>
          <p14:tracePt t="189199" x="2371725" y="5486400"/>
          <p14:tracePt t="189216" x="2390775" y="5486400"/>
          <p14:tracePt t="189230" x="2400300" y="5486400"/>
          <p14:tracePt t="189247" x="2419350" y="5476875"/>
          <p14:tracePt t="189265" x="2447925" y="5467350"/>
          <p14:tracePt t="189281" x="2466975" y="5467350"/>
          <p14:tracePt t="189297" x="2476500" y="5467350"/>
          <p14:tracePt t="189315" x="2495550" y="5467350"/>
          <p14:tracePt t="189331" x="2505075" y="5467350"/>
          <p14:tracePt t="189348" x="2533650" y="5476875"/>
          <p14:tracePt t="189366" x="2676525" y="5534025"/>
          <p14:tracePt t="189380" x="2743200" y="5562600"/>
          <p14:tracePt t="189398" x="3009900" y="5724525"/>
          <p14:tracePt t="189414" x="3105150" y="5819775"/>
          <p14:tracePt t="189430" x="3143250" y="5886450"/>
          <p14:tracePt t="189448" x="3143250" y="5972175"/>
          <p14:tracePt t="189464" x="3143250" y="6048375"/>
          <p14:tracePt t="189480" x="3076575" y="6143625"/>
          <p14:tracePt t="189498" x="2962275" y="6229350"/>
          <p14:tracePt t="189514" x="2657475" y="6296025"/>
          <p14:tracePt t="189531" x="2295525" y="6343650"/>
          <p14:tracePt t="189546" x="1971675" y="6343650"/>
          <p14:tracePt t="189566" x="1619250" y="6343650"/>
          <p14:tracePt t="189580" x="1533525" y="6343650"/>
          <p14:tracePt t="189599" x="1238250" y="6305550"/>
          <p14:tracePt t="189624" x="1038225" y="6286500"/>
          <p14:tracePt t="189629" x="990600" y="6286500"/>
          <p14:tracePt t="189648" x="904875" y="6286500"/>
          <p14:tracePt t="189667" x="866775" y="6276975"/>
          <p14:tracePt t="189727" x="857250" y="6276975"/>
          <p14:tracePt t="189734" x="800100" y="6276975"/>
          <p14:tracePt t="189747" x="723900" y="6286500"/>
          <p14:tracePt t="189764" x="542925" y="6305550"/>
          <p14:tracePt t="189780" x="295275" y="6372225"/>
          <p14:tracePt t="190205" x="9553575" y="5878513"/>
          <p14:tracePt t="190213" x="8216900" y="6092825"/>
          <p14:tracePt t="190230" x="6149975" y="6519863"/>
          <p14:tracePt t="190246" x="4830763" y="6732588"/>
          <p14:tracePt t="192244" x="658813" y="6110288"/>
          <p14:tracePt t="192253" x="962025" y="5861050"/>
          <p14:tracePt t="192261" x="1282700" y="5611813"/>
          <p14:tracePt t="192279" x="2066925" y="4933950"/>
          <p14:tracePt t="192297" x="2620963" y="4292600"/>
          <p14:tracePt t="192312" x="3065463" y="3759200"/>
          <p14:tracePt t="192328" x="3405188" y="3349625"/>
          <p14:tracePt t="192345" x="3689350" y="2957513"/>
          <p14:tracePt t="192362" x="3957638" y="2636838"/>
          <p14:tracePt t="192378" x="4206875" y="2333625"/>
          <p14:tracePt t="192395" x="4402138" y="2084388"/>
          <p14:tracePt t="192411" x="4562475" y="1870075"/>
          <p14:tracePt t="192429" x="4741863" y="1585913"/>
          <p14:tracePt t="192445" x="4848225" y="1443038"/>
          <p14:tracePt t="192461" x="4954588" y="1265238"/>
          <p14:tracePt t="192477" x="5026025" y="1050925"/>
          <p14:tracePt t="192494" x="5186363" y="819150"/>
          <p14:tracePt t="192511" x="5329238" y="534988"/>
          <p14:tracePt t="192527" x="5489575" y="214313"/>
          <p14:tracePt t="192544" x="5561013" y="71438"/>
          <p14:tracePt t="194207" x="1076325" y="266700"/>
          <p14:tracePt t="194207" x="1590675" y="419100"/>
          <p14:tracePt t="194207" x="2390775" y="666750"/>
          <p14:tracePt t="194207" x="3562350" y="1238250"/>
          <p14:tracePt t="194207" x="4000500" y="1514475"/>
          <p14:tracePt t="194207" x="4210050" y="1704975"/>
          <p14:tracePt t="194207" x="4267200" y="1819275"/>
          <p14:tracePt t="194207" x="4276725" y="1924050"/>
          <p14:tracePt t="194207" x="4267200" y="2019300"/>
          <p14:tracePt t="194207" x="4162425" y="2247900"/>
          <p14:tracePt t="194207" x="4095750" y="2428875"/>
          <p14:tracePt t="194207" x="3952875" y="2667000"/>
          <p14:tracePt t="194207" x="3762375" y="2895600"/>
          <p14:tracePt t="194207" x="3486150" y="3228975"/>
          <p14:tracePt t="194207" x="3181350" y="3571875"/>
          <p14:tracePt t="194207" x="2933700" y="3810000"/>
          <p14:tracePt t="194207" x="2628900" y="4086225"/>
          <p14:tracePt t="194207" x="2381250" y="4324350"/>
          <p14:tracePt t="194207" x="2105025" y="4562475"/>
          <p14:tracePt t="194207" x="1828800" y="4819650"/>
          <p14:tracePt t="194207" x="1571625" y="5143500"/>
          <p14:tracePt t="194207" x="1304925" y="5476875"/>
          <p14:tracePt t="194207" x="1162050" y="5667375"/>
          <p14:tracePt t="194207" x="1047750" y="5838825"/>
          <p14:tracePt t="194207" x="952500" y="5972175"/>
          <p14:tracePt t="194207" x="876300" y="6076950"/>
          <p14:tracePt t="194207" x="828675" y="6153150"/>
          <p14:tracePt t="194207" x="790575" y="6257925"/>
          <p14:tracePt t="194207" x="762000" y="6315075"/>
          <p14:tracePt t="194207" x="752475" y="6362700"/>
          <p14:tracePt t="194207" x="742950" y="6410325"/>
          <p14:tracePt t="194207" x="742950" y="6419850"/>
          <p14:tracePt t="194207" x="742950" y="6448425"/>
          <p14:tracePt t="194207" x="733425" y="6457950"/>
          <p14:tracePt t="194207" x="733425" y="6477000"/>
          <p14:tracePt t="194207" x="733425" y="6486525"/>
          <p14:tracePt t="194207" x="1171575" y="6467475"/>
          <p14:tracePt t="194207" x="1190625" y="6448425"/>
          <p14:tracePt t="194207" x="1209675" y="6429375"/>
          <p14:tracePt t="194207" x="1209675" y="6410325"/>
          <p14:tracePt t="194207" x="1228725" y="6372225"/>
          <p14:tracePt t="194207" x="1257300" y="6334125"/>
          <p14:tracePt t="194207" x="1276350" y="6276975"/>
          <p14:tracePt t="194207" x="1304925" y="6219825"/>
          <p14:tracePt t="194207" x="1343025" y="6153150"/>
          <p14:tracePt t="194207" x="1362075" y="6115050"/>
          <p14:tracePt t="194207" x="1371600" y="6096000"/>
          <p14:tracePt t="194207" x="1390650" y="6048375"/>
          <p14:tracePt t="194207" x="1409700" y="6000750"/>
          <p14:tracePt t="194207" x="1419225" y="5962650"/>
          <p14:tracePt t="194207" x="1447800" y="5915025"/>
          <p14:tracePt t="194207" x="1457325" y="5895975"/>
          <p14:tracePt t="194207" x="1466850" y="5886450"/>
          <p14:tracePt t="194207" x="1476375" y="5867400"/>
          <p14:tracePt t="194207" x="1485900" y="5838825"/>
          <p14:tracePt t="194207" x="1495425" y="5800725"/>
          <p14:tracePt t="194207" x="1514475" y="5772150"/>
          <p14:tracePt t="194207" x="1514475" y="5781675"/>
          <p14:tracePt t="194207" x="1514475" y="5829300"/>
          <p14:tracePt t="194207" x="1504950" y="5886450"/>
          <p14:tracePt t="194207" x="1485900" y="5953125"/>
          <p14:tracePt t="194207" x="1419225" y="6086475"/>
          <p14:tracePt t="194207" x="1381125" y="6172200"/>
          <p14:tracePt t="194207" x="1304925" y="6334125"/>
          <p14:tracePt t="194207" x="1228725" y="6477000"/>
          <p14:tracePt t="194207" x="0" y="0"/>
        </p14:tracePtLst>
      </p14:laserTraceLst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19733AD-D7EC-5D62-E281-27B6C2F0B33A}"/>
              </a:ext>
            </a:extLst>
          </p:cNvPr>
          <p:cNvSpPr txBox="1"/>
          <p:nvPr/>
        </p:nvSpPr>
        <p:spPr>
          <a:xfrm>
            <a:off x="3046971" y="340495"/>
            <a:ext cx="609805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4400" b="1" dirty="0"/>
              <a:t>SOURCES OF STR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0E2E54-AA10-12D4-FB3A-ACB58D4B3A85}"/>
              </a:ext>
            </a:extLst>
          </p:cNvPr>
          <p:cNvSpPr txBox="1"/>
          <p:nvPr/>
        </p:nvSpPr>
        <p:spPr>
          <a:xfrm>
            <a:off x="1235677" y="1367185"/>
            <a:ext cx="10713308" cy="39081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/>
              <a:t>•	</a:t>
            </a:r>
            <a:r>
              <a:rPr lang="en-US" sz="2800" dirty="0"/>
              <a:t>Work, finances, unemployment, and work pressure</a:t>
            </a:r>
          </a:p>
          <a:p>
            <a:pPr>
              <a:lnSpc>
                <a:spcPct val="150000"/>
              </a:lnSpc>
            </a:pPr>
            <a:r>
              <a:rPr lang="en-US" sz="2800" dirty="0"/>
              <a:t>•	Relationships, marriage, divorce, and parenting</a:t>
            </a:r>
          </a:p>
          <a:p>
            <a:pPr>
              <a:lnSpc>
                <a:spcPct val="150000"/>
              </a:lnSpc>
            </a:pPr>
            <a:r>
              <a:rPr lang="en-US" sz="2800" dirty="0"/>
              <a:t>•	Death, illness, injury, and trauma</a:t>
            </a:r>
          </a:p>
          <a:p>
            <a:pPr>
              <a:lnSpc>
                <a:spcPct val="150000"/>
              </a:lnSpc>
            </a:pPr>
            <a:r>
              <a:rPr lang="en-US" sz="2800" dirty="0"/>
              <a:t>•	Bullying, emotional abuse, and poor mental health</a:t>
            </a:r>
          </a:p>
          <a:p>
            <a:pPr>
              <a:lnSpc>
                <a:spcPct val="150000"/>
              </a:lnSpc>
            </a:pPr>
            <a:r>
              <a:rPr lang="en-US" sz="2800" dirty="0"/>
              <a:t>•	Lack of support, coping skills, or control</a:t>
            </a:r>
          </a:p>
          <a:p>
            <a:pPr>
              <a:lnSpc>
                <a:spcPct val="150000"/>
              </a:lnSpc>
            </a:pPr>
            <a:r>
              <a:rPr lang="en-US" sz="2800" dirty="0"/>
              <a:t>•	Day-to-day inconveniences and hassles</a:t>
            </a:r>
          </a:p>
        </p:txBody>
      </p:sp>
      <p:pic>
        <p:nvPicPr>
          <p:cNvPr id="10" name="Audio 9">
            <a:hlinkClick r:id="" action="ppaction://media"/>
            <a:extLst>
              <a:ext uri="{FF2B5EF4-FFF2-40B4-BE49-F238E27FC236}">
                <a16:creationId xmlns:a16="http://schemas.microsoft.com/office/drawing/2014/main" id="{33547D85-7F73-93EC-6A97-C9B423BE595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430050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84629"/>
    </mc:Choice>
    <mc:Fallback>
      <p:transition spd="slow" advTm="28462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4430F0C-0D5E-C7A2-04D1-628EF9B03E43}"/>
              </a:ext>
            </a:extLst>
          </p:cNvPr>
          <p:cNvSpPr txBox="1"/>
          <p:nvPr/>
        </p:nvSpPr>
        <p:spPr>
          <a:xfrm>
            <a:off x="2261287" y="192215"/>
            <a:ext cx="729357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4400" b="1" dirty="0"/>
              <a:t>INDICATORS OF STRE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967451-66AE-7F2E-1A42-13D84D83C5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50435" y="1158931"/>
            <a:ext cx="6069495" cy="5175608"/>
          </a:xfrm>
          <a:prstGeom prst="rect">
            <a:avLst/>
          </a:prstGeom>
        </p:spPr>
      </p:pic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F950C05E-524A-73A6-FAF3-6B6FA6DFC6F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810896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41964"/>
    </mc:Choice>
    <mc:Fallback>
      <p:transition spd="slow" advTm="24196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357BCF7-A305-C462-FB20-1B3A12DAAC81}"/>
              </a:ext>
            </a:extLst>
          </p:cNvPr>
          <p:cNvSpPr txBox="1"/>
          <p:nvPr/>
        </p:nvSpPr>
        <p:spPr>
          <a:xfrm>
            <a:off x="2261287" y="192215"/>
            <a:ext cx="729357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4400" b="1" dirty="0"/>
              <a:t>INDICATORS OF STRES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6A09FF-712C-90DC-9C29-4A8CB49B99A3}"/>
              </a:ext>
            </a:extLst>
          </p:cNvPr>
          <p:cNvSpPr txBox="1"/>
          <p:nvPr/>
        </p:nvSpPr>
        <p:spPr>
          <a:xfrm>
            <a:off x="704335" y="1212675"/>
            <a:ext cx="10898660" cy="32618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Psychological indicators 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Anxiety and Fear 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Anger 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Depression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Ego </a:t>
            </a:r>
            <a:r>
              <a:rPr lang="en-ZA" sz="2800" dirty="0" err="1"/>
              <a:t>Defense</a:t>
            </a:r>
            <a:r>
              <a:rPr lang="en-ZA" sz="2800" dirty="0"/>
              <a:t> Mechanism</a:t>
            </a:r>
          </a:p>
        </p:txBody>
      </p:sp>
      <p:pic>
        <p:nvPicPr>
          <p:cNvPr id="19" name="Audio 18">
            <a:hlinkClick r:id="" action="ppaction://media"/>
            <a:extLst>
              <a:ext uri="{FF2B5EF4-FFF2-40B4-BE49-F238E27FC236}">
                <a16:creationId xmlns:a16="http://schemas.microsoft.com/office/drawing/2014/main" id="{C56AA28A-3415-5BCD-03FB-F8D65D5E625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1958396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68846"/>
    </mc:Choice>
    <mc:Fallback>
      <p:transition spd="slow" advTm="36884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9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823B785-3048-76BE-FE9C-F580338747EF}"/>
              </a:ext>
            </a:extLst>
          </p:cNvPr>
          <p:cNvSpPr txBox="1"/>
          <p:nvPr/>
        </p:nvSpPr>
        <p:spPr>
          <a:xfrm>
            <a:off x="755375" y="1161078"/>
            <a:ext cx="10760764" cy="39081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Cognitive indicators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Problem Solving 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Structuring 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Self Control 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Suppression 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800" dirty="0"/>
              <a:t>Fantasy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136E51-4C3D-DCFC-6748-17E633AADB6B}"/>
              </a:ext>
            </a:extLst>
          </p:cNvPr>
          <p:cNvSpPr txBox="1"/>
          <p:nvPr/>
        </p:nvSpPr>
        <p:spPr>
          <a:xfrm>
            <a:off x="2261287" y="192215"/>
            <a:ext cx="729357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4400" b="1" dirty="0"/>
              <a:t>INDICATORS OF STRESS</a:t>
            </a:r>
          </a:p>
        </p:txBody>
      </p:sp>
      <p:pic>
        <p:nvPicPr>
          <p:cNvPr id="26" name="Audio 25">
            <a:hlinkClick r:id="" action="ppaction://media"/>
            <a:extLst>
              <a:ext uri="{FF2B5EF4-FFF2-40B4-BE49-F238E27FC236}">
                <a16:creationId xmlns:a16="http://schemas.microsoft.com/office/drawing/2014/main" id="{A794F2E4-8F2E-1463-047C-9EC3A62C830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0637462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05835"/>
    </mc:Choice>
    <mc:Fallback>
      <p:transition spd="slow" advTm="10583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6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C99B4DF-5D76-21CE-886E-B904C13D9F08}"/>
              </a:ext>
            </a:extLst>
          </p:cNvPr>
          <p:cNvSpPr txBox="1"/>
          <p:nvPr/>
        </p:nvSpPr>
        <p:spPr>
          <a:xfrm>
            <a:off x="2809461" y="120134"/>
            <a:ext cx="609600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4400" b="1" dirty="0"/>
              <a:t>COPING STRATEGIE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67F5D8-F32D-7997-F2F7-84EF65F38DDA}"/>
              </a:ext>
            </a:extLst>
          </p:cNvPr>
          <p:cNvSpPr txBox="1"/>
          <p:nvPr/>
        </p:nvSpPr>
        <p:spPr>
          <a:xfrm>
            <a:off x="808383" y="828576"/>
            <a:ext cx="10972800" cy="5126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000" dirty="0"/>
              <a:t>Coping is dealing with change successfully or unsuccessfully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000" dirty="0"/>
              <a:t>Coping strategy is a natural or learned way of responding to a changing environment or specific problem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000" dirty="0"/>
              <a:t>Types of Coping strategies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000" dirty="0"/>
              <a:t>Problem focused coping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000" dirty="0"/>
              <a:t>Emotion focused cop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000" dirty="0"/>
              <a:t>Long term - </a:t>
            </a:r>
            <a:r>
              <a:rPr lang="en-US" sz="2000" dirty="0"/>
              <a:t>These focus on preventing or reducing stress over time and improving overall well-being.</a:t>
            </a:r>
            <a:endParaRPr lang="en-ZA" sz="20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000" dirty="0"/>
              <a:t>Short term - </a:t>
            </a:r>
            <a:r>
              <a:rPr lang="en-US" sz="2000" dirty="0"/>
              <a:t>These are used to </a:t>
            </a:r>
            <a:r>
              <a:rPr lang="en-US" sz="2000" b="1" dirty="0"/>
              <a:t>quickly reduce stress</a:t>
            </a:r>
            <a:r>
              <a:rPr lang="en-US" sz="2000" dirty="0"/>
              <a:t> in the moment, but they may not solve the root cause.</a:t>
            </a:r>
            <a:endParaRPr lang="en-ZA" sz="20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2000" dirty="0"/>
              <a:t>Process of coping can be adaptive or maladaptive</a:t>
            </a:r>
            <a:endParaRPr lang="en-ZA" sz="2400" dirty="0"/>
          </a:p>
        </p:txBody>
      </p:sp>
      <p:pic>
        <p:nvPicPr>
          <p:cNvPr id="19" name="Audio 18">
            <a:hlinkClick r:id="" action="ppaction://media"/>
            <a:extLst>
              <a:ext uri="{FF2B5EF4-FFF2-40B4-BE49-F238E27FC236}">
                <a16:creationId xmlns:a16="http://schemas.microsoft.com/office/drawing/2014/main" id="{B9FA49F5-A105-CAAE-A22D-BD4C7A94A26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-203125" t="-203125" r="-203125" b="-203125"/>
          <a:stretch>
            <a:fillRect/>
          </a:stretch>
        </p:blipFill>
        <p:spPr>
          <a:xfrm>
            <a:off x="10052304" y="4718304"/>
            <a:ext cx="2057400" cy="20574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3495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92838"/>
    </mc:Choice>
    <mc:Fallback>
      <p:transition spd="slow" advTm="39283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9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sUbpURm2roTBtWcR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sUbpURm2roTBtWcRc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sDRGXxQVC5QsPMP7s.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J8vd_.TWOCdZXdoUVU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sUbpURm2roTBtWcRc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Lifegroup_CF_DUV065">
  <a:themeElements>
    <a:clrScheme name="Custom">
      <a:dk1>
        <a:srgbClr val="000000"/>
      </a:dk1>
      <a:lt1>
        <a:srgbClr val="FFFFFF"/>
      </a:lt1>
      <a:dk2>
        <a:srgbClr val="1E3D57"/>
      </a:dk2>
      <a:lt2>
        <a:srgbClr val="64C3C4"/>
      </a:lt2>
      <a:accent1>
        <a:srgbClr val="7BB9ED"/>
      </a:accent1>
      <a:accent2>
        <a:srgbClr val="1E84D8"/>
      </a:accent2>
      <a:accent3>
        <a:srgbClr val="14578E"/>
      </a:accent3>
      <a:accent4>
        <a:srgbClr val="0C3456"/>
      </a:accent4>
      <a:accent5>
        <a:srgbClr val="D9272E"/>
      </a:accent5>
      <a:accent6>
        <a:srgbClr val="808080"/>
      </a:accent6>
      <a:hlink>
        <a:srgbClr val="14578E"/>
      </a:hlink>
      <a:folHlink>
        <a:srgbClr val="0C345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1E3D57"/>
        </a:dk2>
        <a:lt2>
          <a:srgbClr val="64C3C4"/>
        </a:lt2>
        <a:accent1>
          <a:srgbClr val="7BB9ED"/>
        </a:accent1>
        <a:accent2>
          <a:srgbClr val="1E84D8"/>
        </a:accent2>
        <a:accent3>
          <a:srgbClr val="14578E"/>
        </a:accent3>
        <a:accent4>
          <a:srgbClr val="0C3456"/>
        </a:accent4>
        <a:accent5>
          <a:srgbClr val="D9272E"/>
        </a:accent5>
        <a:accent6>
          <a:srgbClr val="808080"/>
        </a:accent6>
        <a:hlink>
          <a:srgbClr val="14578E"/>
        </a:hlink>
        <a:folHlink>
          <a:srgbClr val="0C34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80911 Steerco 2 v.7 Abridged version 1100AM.potx" id="{309F05F6-F64B-4811-8B7D-EF164167096D}" vid="{E3856120-9109-4FDB-9B11-66E3EE27A2B0}"/>
    </a:ext>
  </a:extLst>
</a:theme>
</file>

<file path=ppt/theme/theme2.xml><?xml version="1.0" encoding="utf-8"?>
<a:theme xmlns:a="http://schemas.openxmlformats.org/drawingml/2006/main" name="LHC Nursing College_powerpoint template_Nov2025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9D89BBCDE8064CB5AD710227C5013A" ma:contentTypeVersion="11" ma:contentTypeDescription="Create a new document." ma:contentTypeScope="" ma:versionID="308b9833c506bfb6acbe207a8d9c4483">
  <xsd:schema xmlns:xsd="http://www.w3.org/2001/XMLSchema" xmlns:xs="http://www.w3.org/2001/XMLSchema" xmlns:p="http://schemas.microsoft.com/office/2006/metadata/properties" xmlns:ns2="7f7cd183-c0e3-4510-8ec7-224200262532" xmlns:ns3="8a520d22-e56f-4234-886d-20573e185ed7" targetNamespace="http://schemas.microsoft.com/office/2006/metadata/properties" ma:root="true" ma:fieldsID="b9a7013b5987674ef9e942f5c4c7d6b4" ns2:_="" ns3:_="">
    <xsd:import namespace="7f7cd183-c0e3-4510-8ec7-224200262532"/>
    <xsd:import namespace="8a520d22-e56f-4234-886d-20573e185e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7cd183-c0e3-4510-8ec7-2242002625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520d22-e56f-4234-886d-20573e185ed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BD55FF-CC6F-496B-BCAD-742EC75659FB}">
  <ds:schemaRefs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dcmitype/"/>
    <ds:schemaRef ds:uri="7f7cd183-c0e3-4510-8ec7-224200262532"/>
    <ds:schemaRef ds:uri="http://purl.org/dc/terms/"/>
    <ds:schemaRef ds:uri="http://schemas.openxmlformats.org/package/2006/metadata/core-properties"/>
    <ds:schemaRef ds:uri="8a520d22-e56f-4234-886d-20573e185ed7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16F3A250-74FC-4EC1-BD9C-671DDCBD2EE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088CAF-7952-4E22-86F7-B76CF2A8A6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f7cd183-c0e3-4510-8ec7-224200262532"/>
    <ds:schemaRef ds:uri="8a520d22-e56f-4234-886d-20573e185e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368</TotalTime>
  <Words>462</Words>
  <Application>Microsoft Office PowerPoint</Application>
  <PresentationFormat>Widescreen</PresentationFormat>
  <Paragraphs>72</Paragraphs>
  <Slides>14</Slides>
  <Notes>11</Notes>
  <HiddenSlides>0</HiddenSlides>
  <MMClips>14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ptos</vt:lpstr>
      <vt:lpstr>Aptos Display</vt:lpstr>
      <vt:lpstr>Arial</vt:lpstr>
      <vt:lpstr>Calibri</vt:lpstr>
      <vt:lpstr>Gotham Narrow Medium</vt:lpstr>
      <vt:lpstr>Trebuchet MS</vt:lpstr>
      <vt:lpstr>Lifegroup_CF_DUV065</vt:lpstr>
      <vt:lpstr>LHC Nursing College_powerpoint template_Nov2025</vt:lpstr>
      <vt:lpstr>think-cell Slide</vt:lpstr>
      <vt:lpstr>Package</vt:lpstr>
      <vt:lpstr>APS 2025 STRESS AND COPING </vt:lpstr>
      <vt:lpstr>LEARNING OUTCOMES </vt:lpstr>
      <vt:lpstr>WHAT IS STRESS? </vt:lpstr>
      <vt:lpstr>WHAT IS A STRESSOR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LF DIRECTED LEARNING CONTINUE </vt:lpstr>
      <vt:lpstr>RESOURCE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diology IC Presentation</dc:title>
  <dc:subject>Radiology</dc:subject>
  <dc:creator>Van Zyl,Christo</dc:creator>
  <cp:keywords>Investment Committee;Radiology</cp:keywords>
  <cp:lastModifiedBy>Chumani Nyezi</cp:lastModifiedBy>
  <cp:revision>1002</cp:revision>
  <dcterms:created xsi:type="dcterms:W3CDTF">2020-02-11T09:19:28Z</dcterms:created>
  <dcterms:modified xsi:type="dcterms:W3CDTF">2025-05-01T10:4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9D89BBCDE8064CB5AD710227C5013A</vt:lpwstr>
  </property>
</Properties>
</file>